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</p:sldMasterIdLst>
  <p:notesMasterIdLst>
    <p:notesMasterId r:id="rId3"/>
  </p:notesMasterIdLst>
  <p:sldIdLst>
    <p:sldId id="2134804784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83D96"/>
    <a:srgbClr val="003463"/>
    <a:srgbClr val="335D82"/>
    <a:srgbClr val="D6F2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78" d="100"/>
          <a:sy n="78" d="100"/>
        </p:scale>
        <p:origin x="874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67453E-E4B7-4ADE-93D3-9CDDD501A7BD}" type="datetimeFigureOut">
              <a:rPr lang="en-GB" smtClean="0"/>
              <a:t>13/06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861379-1052-4261-AC8C-9DB41E50C56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4555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1"/>
          </a:solidFill>
        </p:spPr>
        <p:txBody>
          <a:bodyPr lIns="540000" tIns="792000" rIns="540000" anchor="t" anchorCtr="1"/>
          <a:lstStyle>
            <a:lvl1pPr marL="0" marR="0" indent="0" algn="l" defTabSz="35999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itchFamily="2" charset="2"/>
              <a:buNone/>
              <a:tabLst/>
              <a:defRPr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35999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de-DE"/>
              <a:t>Klicken Sie auf das Icon in der Mitte, um ein Titelbild einzufügen.</a:t>
            </a:r>
            <a:br>
              <a:rPr lang="de-DE"/>
            </a:br>
            <a:r>
              <a:rPr lang="de-DE"/>
              <a:t>Verschieben Sie das Logo nicht! Nutzen Sie Start &gt; Zurücksetzt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3408000"/>
            <a:ext cx="12192000" cy="3456000"/>
          </a:xfrm>
          <a:gradFill>
            <a:gsLst>
              <a:gs pos="0">
                <a:schemeClr val="tx1">
                  <a:alpha val="75000"/>
                </a:schemeClr>
              </a:gs>
              <a:gs pos="50000">
                <a:schemeClr val="tx1">
                  <a:alpha val="45000"/>
                </a:schemeClr>
              </a:gs>
              <a:gs pos="25000">
                <a:schemeClr val="tx1">
                  <a:alpha val="58000"/>
                </a:schemeClr>
              </a:gs>
              <a:gs pos="85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vert="horz" lIns="252000" tIns="1080000" rIns="2412000" bIns="2232000" rtlCol="0" anchor="t" anchorCtr="0">
            <a:noAutofit/>
          </a:bodyPr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Titel 24 pt,</a:t>
            </a:r>
            <a:br>
              <a:rPr lang="de-DE"/>
            </a:br>
            <a:r>
              <a:rPr lang="de-DE"/>
              <a:t>max. zweizeilig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336000" y="5712000"/>
            <a:ext cx="5760000" cy="576000"/>
          </a:xfrm>
        </p:spPr>
        <p:txBody>
          <a:bodyPr anchor="t" anchorCtr="0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itchFamily="2" charset="2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atum: TT.MM.JJJ</a:t>
            </a:r>
          </a:p>
          <a:p>
            <a:r>
              <a:rPr lang="de-DE"/>
              <a:t>Name des Redners</a:t>
            </a:r>
          </a:p>
        </p:txBody>
      </p:sp>
      <p:sp>
        <p:nvSpPr>
          <p:cNvPr id="7" name="Source 1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0"/>
            <a:ext cx="3168000" cy="288000"/>
          </a:xfrm>
        </p:spPr>
        <p:txBody>
          <a:bodyPr wrap="none" lIns="108000" tIns="72000" rIns="0" bIns="7200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Quelle: Bitte Bildquelle angeben / Name des Fotografen</a:t>
            </a:r>
          </a:p>
        </p:txBody>
      </p:sp>
      <p:sp>
        <p:nvSpPr>
          <p:cNvPr id="10" name="Text Placeholder  with Logo 2">
            <a:extLst>
              <a:ext uri="{FF2B5EF4-FFF2-40B4-BE49-F238E27FC236}">
                <a16:creationId xmlns:a16="http://schemas.microsoft.com/office/drawing/2014/main" id="{C3D18020-2119-D248-A7CE-18ACC8307F0F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9412800" y="5817600"/>
            <a:ext cx="2016000" cy="465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29096502"/>
      </p:ext>
    </p:extLst>
  </p:cSld>
  <p:clrMapOvr>
    <a:masterClrMapping/>
  </p:clrMapOvr>
  <p:transition spd="slow">
    <p:fade thruBlk="1"/>
  </p:transition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bulleted list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03189A-7441-48EA-8C43-95D67D294A55}" type="datetime1">
              <a:rPr lang="de-DE" noProof="0" smtClean="0"/>
              <a:t>13.06.2025</a:t>
            </a:fld>
            <a:endParaRPr lang="de-DE" noProof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4909C6-CC71-4962-A18E-AF0515723D9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noProof="0"/>
              <a:t>Fußzeile bearbeiten: Einfügen &gt; Kopf- und Fußzeile (Titel der Präsentation und Name des Redner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20 pt, max. zweizeilig und Aufzählung</a:t>
            </a:r>
            <a:endParaRPr lang="de-DE" noProof="0"/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Um die Hierarchie der Unterpunkte anzupassen, verwenden Sie Start &gt; Absatz &gt; Listenebene verringern/erhöhen. Alternativ Tabelle, Diagramm, SmartArt Grafik, Bild oder Onlinegrafik einfügen.</a:t>
            </a:r>
            <a:br>
              <a:rPr lang="de-DE"/>
            </a:br>
            <a:r>
              <a:rPr lang="de-DE"/>
              <a:t>Diagrammformatierung: Sie können alle einfarbige Farben werdenden und „Farbige Palette 1“ (Menüband &gt;Diagrammentwurf &gt;Farbe ändern). Bitte nutzen Sie nur die Formatvorlagen 1, 2, 6 oder 11. (Menüband &gt;Diagrammentwurf &gt;Diagrammformatvorlagen)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pic>
        <p:nvPicPr>
          <p:cNvPr id="11" name="MR Logo white 1">
            <a:extLst>
              <a:ext uri="{FF2B5EF4-FFF2-40B4-BE49-F238E27FC236}">
                <a16:creationId xmlns:a16="http://schemas.microsoft.com/office/drawing/2014/main" id="{FDB0F339-34CF-E795-A58C-853DE0121A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13600" y="408000"/>
            <a:ext cx="1742400" cy="4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189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numbe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4909C6-CC71-4962-A18E-AF0515723D9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0B0EA1-60BB-4553-BD8B-5D0BE47EB6ED}" type="datetime1">
              <a:rPr lang="de-DE" noProof="0" smtClean="0"/>
              <a:t>13.06.2025</a:t>
            </a:fld>
            <a:endParaRPr lang="de-DE" noProof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noProof="0"/>
              <a:t>Fußzeile bearbeiten: Einfügen &gt; Kopf- und Fußzeile (Titel der Präsentation und Name des Redner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20 pt, max. zweizeilig und Nummerierung</a:t>
            </a:r>
            <a:endParaRPr lang="de-DE" noProof="0"/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AutoNum type="arabicPeriod"/>
              <a:defRPr/>
            </a:lvl1pPr>
          </a:lstStyle>
          <a:p>
            <a:pPr lvl="0"/>
            <a:r>
              <a:rPr lang="de-DE"/>
              <a:t>Um die Hierarchie der Unterpunkte anzupassen, verwenden Sie Start &gt; Absatz &gt; Listenebene verringern/erhöhen. Alternativ Tabelle, Diagramm, SmartArt Grafik, Bild oder Onlinegrafik einfüg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3910637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0" indent="0">
              <a:buNone/>
              <a:defRPr/>
            </a:lvl1pPr>
            <a:lvl2pPr marL="359991" indent="0">
              <a:buNone/>
            </a:lvl2pPr>
            <a:lvl3pPr marL="719982" indent="0">
              <a:buNone/>
            </a:lvl3pPr>
            <a:lvl4pPr marL="1079973" indent="0">
              <a:buNone/>
            </a:lvl4pPr>
            <a:lvl5pPr marL="1439964" indent="0">
              <a:buNone/>
            </a:lvl5pPr>
            <a:lvl6pPr marL="1799955" indent="0">
              <a:buNone/>
            </a:lvl6pPr>
            <a:lvl7pPr marL="2159946" indent="0">
              <a:buNone/>
            </a:lvl7pPr>
            <a:lvl8pPr marL="2519937" indent="0">
              <a:buNone/>
            </a:lvl8pPr>
            <a:lvl9pPr marL="2879928" indent="0">
              <a:buNone/>
            </a:lvl9pPr>
          </a:lstStyle>
          <a:p>
            <a:pPr lvl="0"/>
            <a:r>
              <a:rPr lang="de-DE"/>
              <a:t>Um die Hierarchie der Unterpunkte anzupassen, verwenden Sie Start &gt; Absatz &gt; Listenebene verringern/erhöhen. Alternativ Tabelle, Diagramm, SmartArt Grafik, Bild oder Onlinegrafik einfüg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Titel 20 pt, max. zweizeilig und Standardtext</a:t>
            </a:r>
            <a:endParaRPr lang="de-DE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8EE2A-2F16-41C4-92AA-DFD412A44461}" type="datetime1">
              <a:rPr lang="de-DE" smtClean="0"/>
              <a:t>13.06.2025</a:t>
            </a:fld>
            <a:endParaRPr lang="de-DE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56DB8AA-803C-49D2-90AA-1140CE72DC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Fußzeile bearbeiten: Einfügen &gt; Kopf- und Fußzeile (Titel der Präsentation und Name des Redners)</a:t>
            </a:r>
          </a:p>
        </p:txBody>
      </p:sp>
    </p:spTree>
    <p:extLst>
      <p:ext uri="{BB962C8B-B14F-4D97-AF65-F5344CB8AC3E}">
        <p14:creationId xmlns:p14="http://schemas.microsoft.com/office/powerpoint/2010/main" val="2098210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56DB8AA-803C-49D2-90AA-1140CE72DC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3F5181-BD38-4959-A568-6FF89C9D28EA}" type="datetime1">
              <a:rPr lang="de-DE" smtClean="0"/>
              <a:t>13.06.2025</a:t>
            </a:fld>
            <a:endParaRPr lang="de-DE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Fußzeile bearbeiten: Einfügen &gt; Kopf- und Fußzeile (Titel der Präsentation und Name des Redners)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Titel 20 pt, max. zweizeilig und Diagramm</a:t>
            </a:r>
          </a:p>
        </p:txBody>
      </p:sp>
      <p:sp>
        <p:nvSpPr>
          <p:cNvPr id="18" name="Content Placeholder 1"/>
          <p:cNvSpPr>
            <a:spLocks noGrp="1"/>
          </p:cNvSpPr>
          <p:nvPr>
            <p:ph sz="quarter" idx="13" hasCustomPrompt="1"/>
          </p:nvPr>
        </p:nvSpPr>
        <p:spPr>
          <a:xfrm>
            <a:off x="336000" y="2064000"/>
            <a:ext cx="11520000" cy="4416000"/>
          </a:xfrm>
        </p:spPr>
        <p:txBody>
          <a:bodyPr/>
          <a:lstStyle/>
          <a:p>
            <a:pPr marL="287993" marR="0" lvl="0" indent="-287993" algn="l" defTabSz="35999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de-DE"/>
              <a:t>Um die Hierarchie der Unterpunkte anzupassen, verwenden Sie Start &gt; Absatz &gt; Listenebene verringern/erhöhen. Alternativ Tabelle, Diagramm, SmartArt Grafik, Bild oder Onlinegrafik einfügen.</a:t>
            </a:r>
            <a:br>
              <a:rPr lang="de-DE"/>
            </a:br>
            <a:r>
              <a:rPr lang="de-DE"/>
              <a:t>Diagrammformatierung: Sie können alle einfarbige Farben werdenden und „Farbige Palette 1“ (Menüband &gt;Diagrammentwurf &gt;Farbe ändern). Bitte nutzen Sie nur die Formatvorlagen 1, 2, 6 oder 11. (Menüband &gt;Diagrammentwurf &gt;Diagrammformatvorlagen)</a:t>
            </a:r>
          </a:p>
        </p:txBody>
      </p:sp>
      <p:sp>
        <p:nvSpPr>
          <p:cNvPr id="8" name="Heading Placeholder 1"/>
          <p:cNvSpPr>
            <a:spLocks noGrp="1"/>
          </p:cNvSpPr>
          <p:nvPr>
            <p:ph type="body" idx="1" hasCustomPrompt="1"/>
          </p:nvPr>
        </p:nvSpPr>
        <p:spPr>
          <a:xfrm>
            <a:off x="336000" y="1488000"/>
            <a:ext cx="11520000" cy="384000"/>
          </a:xfrm>
        </p:spPr>
        <p:txBody>
          <a:bodyPr wrap="square" lIns="0" tIns="0" rIns="0" bIns="0" anchor="t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2133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Überschrift 16 pt, einzeilig</a:t>
            </a:r>
          </a:p>
        </p:txBody>
      </p:sp>
    </p:spTree>
    <p:extLst>
      <p:ext uri="{BB962C8B-B14F-4D97-AF65-F5344CB8AC3E}">
        <p14:creationId xmlns:p14="http://schemas.microsoft.com/office/powerpoint/2010/main" val="3187578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FBAE40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6" orient="horz" pos="97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56DB8AA-803C-49D2-90AA-1140CE72DC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8EE2A-2F16-41C4-92AA-DFD412A44461}" type="datetime1">
              <a:rPr lang="de-DE" smtClean="0"/>
              <a:t>13.06.2025</a:t>
            </a:fld>
            <a:endParaRPr lang="de-DE"/>
          </a:p>
        </p:txBody>
      </p:sp>
      <p:sp>
        <p:nvSpPr>
          <p:cNvPr id="15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Fußzeile bearbeiten: Einfügen &gt; Kopf- und Fußzeile (Titel der Präsentation und Name des Redners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20 pt, max. zweizeilig und zwei Inhaltsblöcke</a:t>
            </a:r>
          </a:p>
        </p:txBody>
      </p:sp>
      <p:sp>
        <p:nvSpPr>
          <p:cNvPr id="20" name="Content Placeholder 1"/>
          <p:cNvSpPr>
            <a:spLocks noGrp="1"/>
          </p:cNvSpPr>
          <p:nvPr>
            <p:ph sz="quarter" idx="13" hasCustomPrompt="1"/>
          </p:nvPr>
        </p:nvSpPr>
        <p:spPr>
          <a:xfrm>
            <a:off x="336000" y="2064000"/>
            <a:ext cx="5580000" cy="44160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de-DE"/>
              <a:t>Um die Hierarchie der Unterpunkte anzupassen, verwenden Sie Start &gt; Absatz &gt; Listenebene verringern/erhöh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6276000" y="2057400"/>
            <a:ext cx="5580000" cy="44160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de-DE"/>
              <a:t>Um die Hierarchie der Unterpunkte anzupassen, verwenden Sie Start &gt; Absatz &gt; Listenebene verringern/erhöh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3" name="Heading Placeholder 1"/>
          <p:cNvSpPr>
            <a:spLocks noGrp="1"/>
          </p:cNvSpPr>
          <p:nvPr>
            <p:ph type="body" idx="1" hasCustomPrompt="1"/>
          </p:nvPr>
        </p:nvSpPr>
        <p:spPr>
          <a:xfrm>
            <a:off x="336000" y="1488000"/>
            <a:ext cx="5580000" cy="384000"/>
          </a:xfrm>
        </p:spPr>
        <p:txBody>
          <a:bodyPr wrap="square" lIns="0" tIns="0" rIns="0" bIns="0" anchor="t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2133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Überschrift 16 pt, einzeilig</a:t>
            </a:r>
          </a:p>
        </p:txBody>
      </p:sp>
      <p:sp>
        <p:nvSpPr>
          <p:cNvPr id="5" name="Heading Placeholder 2"/>
          <p:cNvSpPr>
            <a:spLocks noGrp="1"/>
          </p:cNvSpPr>
          <p:nvPr>
            <p:ph type="body" sz="quarter" idx="3" hasCustomPrompt="1"/>
          </p:nvPr>
        </p:nvSpPr>
        <p:spPr>
          <a:xfrm>
            <a:off x="6276000" y="1488000"/>
            <a:ext cx="5580000" cy="384000"/>
          </a:xfrm>
        </p:spPr>
        <p:txBody>
          <a:bodyPr wrap="square" lIns="0" tIns="0" rIns="0" bIns="0" anchor="t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2133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Überschrift 16 pt, einzeilig</a:t>
            </a:r>
          </a:p>
        </p:txBody>
      </p:sp>
    </p:spTree>
    <p:extLst>
      <p:ext uri="{BB962C8B-B14F-4D97-AF65-F5344CB8AC3E}">
        <p14:creationId xmlns:p14="http://schemas.microsoft.com/office/powerpoint/2010/main" val="3274805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FBAE40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6" pos="2795">
          <p15:clr>
            <a:srgbClr val="FBAE40"/>
          </p15:clr>
        </p15:guide>
        <p15:guide id="37" pos="2965">
          <p15:clr>
            <a:srgbClr val="FBAE40"/>
          </p15:clr>
        </p15:guide>
        <p15:guide id="38" orient="horz" pos="97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256000" y="1488000"/>
            <a:ext cx="3600000" cy="288000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>
              <a:buFontTx/>
              <a:buNone/>
              <a:defRPr/>
            </a:lvl1pPr>
          </a:lstStyle>
          <a:p>
            <a:r>
              <a:rPr lang="de-DE" noProof="0"/>
              <a:t>Klicken Sie auf das Icon in der Mitte, um ein Bild einzufügen.</a:t>
            </a: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336000" y="1488000"/>
            <a:ext cx="3600000" cy="2880000"/>
          </a:xfrm>
          <a:solidFill>
            <a:schemeClr val="bg1">
              <a:lumMod val="85000"/>
            </a:schemeClr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r>
              <a:rPr lang="de-DE" noProof="0"/>
              <a:t>Klicken Sie auf das Icon in der Mitte, um ein Bild einzufügen.</a:t>
            </a:r>
          </a:p>
        </p:txBody>
      </p:sp>
      <p:sp>
        <p:nvSpPr>
          <p:cNvPr id="17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56DB8AA-803C-49D2-90AA-1140CE72DC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845FCC-2641-4B9F-8B3C-586F75C7E022}" type="datetime1">
              <a:rPr lang="de-DE" smtClean="0"/>
              <a:t>13.06.2025</a:t>
            </a:fld>
            <a:endParaRPr lang="de-DE"/>
          </a:p>
        </p:txBody>
      </p:sp>
      <p:sp>
        <p:nvSpPr>
          <p:cNvPr id="18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Fußzeile bearbeiten: Einfügen &gt; Kopf- und Fußzeile (Titel der Präsentation und Name des Redners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 20 pt, max. zweizeilig und drei Bilder mit Text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4296000" y="1488000"/>
            <a:ext cx="3600000" cy="2880000"/>
          </a:xfrm>
          <a:solidFill>
            <a:schemeClr val="bg1">
              <a:lumMod val="85000"/>
            </a:schemeClr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tabLst/>
              <a:defRPr/>
            </a:lvl1pPr>
          </a:lstStyle>
          <a:p>
            <a:r>
              <a:rPr lang="de-DE" noProof="0"/>
              <a:t>Klicken Sie auf das Icon in der Mitte, um ein Bild einzufügen.</a:t>
            </a:r>
          </a:p>
        </p:txBody>
      </p:sp>
      <p:sp>
        <p:nvSpPr>
          <p:cNvPr id="23" name="Text  Placeholder 1"/>
          <p:cNvSpPr>
            <a:spLocks noGrp="1"/>
          </p:cNvSpPr>
          <p:nvPr>
            <p:ph type="body" sz="quarter" idx="16" hasCustomPrompt="1"/>
          </p:nvPr>
        </p:nvSpPr>
        <p:spPr>
          <a:xfrm>
            <a:off x="336000" y="4560000"/>
            <a:ext cx="3600000" cy="1920000"/>
          </a:xfrm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</a:lvl7pPr>
            <a:lvl8pPr>
              <a:spcAft>
                <a:spcPts val="0"/>
              </a:spcAft>
            </a:lvl8pPr>
            <a:lvl9pPr>
              <a:spcAft>
                <a:spcPts val="0"/>
              </a:spcAft>
            </a:lvl9pPr>
          </a:lstStyle>
          <a:p>
            <a:pPr lvl="0"/>
            <a:r>
              <a:rPr lang="de-DE" noProof="0"/>
              <a:t>Um die Hierarchie der Unterpunkte anzupassen, verwenden Sie Start &gt; Absatz &gt; Listenebene verringern/erhöhen.</a:t>
            </a:r>
          </a:p>
          <a:p>
            <a:pPr lvl="1"/>
            <a:r>
              <a:rPr lang="de-DE" noProof="0"/>
              <a:t>Zweite Eben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4296000" y="4560000"/>
            <a:ext cx="3600000" cy="1920000"/>
          </a:xfrm>
        </p:spPr>
        <p:txBody>
          <a:bodyPr vert="horz" lIns="0" tIns="0" rIns="0" bIns="0" rtlCol="0">
            <a:noAutofit/>
          </a:bodyPr>
          <a:lstStyle>
            <a:lvl1pPr>
              <a:defRPr lang="de-DE" noProof="0" dirty="0"/>
            </a:lvl1pPr>
            <a:lvl2pPr>
              <a:defRPr lang="de-DE" noProof="0" dirty="0"/>
            </a:lvl2pPr>
          </a:lstStyle>
          <a:p>
            <a:pPr lvl="0">
              <a:spcAft>
                <a:spcPts val="0"/>
              </a:spcAft>
            </a:pPr>
            <a:r>
              <a:rPr lang="de-DE" noProof="0"/>
              <a:t>Um die Hierarchie der Unterpunkte anzupassen, verwenden Sie Start &gt; Absatz &gt; Listenebene verringern/erhöhen</a:t>
            </a:r>
          </a:p>
          <a:p>
            <a:pPr lvl="1">
              <a:spcAft>
                <a:spcPts val="0"/>
              </a:spcAft>
            </a:pPr>
            <a:r>
              <a:rPr lang="de-DE" noProof="0"/>
              <a:t>Zweite Ebene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8256000" y="4560000"/>
            <a:ext cx="3600000" cy="1920000"/>
          </a:xfrm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</a:lvl7pPr>
            <a:lvl8pPr>
              <a:spcAft>
                <a:spcPts val="0"/>
              </a:spcAft>
            </a:lvl8pPr>
            <a:lvl9pPr>
              <a:spcAft>
                <a:spcPts val="0"/>
              </a:spcAft>
            </a:lvl9pPr>
          </a:lstStyle>
          <a:p>
            <a:pPr lvl="0">
              <a:spcAft>
                <a:spcPts val="0"/>
              </a:spcAft>
            </a:pPr>
            <a:r>
              <a:rPr lang="de-DE" noProof="0"/>
              <a:t>Um die Hierarchie der Unterpunkte anzupassen, verwenden Sie Start &gt; Absatz &gt; Listenebene verringern/erhöhen</a:t>
            </a:r>
          </a:p>
          <a:p>
            <a:pPr lvl="1"/>
            <a:r>
              <a:rPr lang="de-DE" noProof="0"/>
              <a:t>Zweite Ebene</a:t>
            </a:r>
          </a:p>
        </p:txBody>
      </p:sp>
      <p:sp>
        <p:nvSpPr>
          <p:cNvPr id="15" name="Source 1"/>
          <p:cNvSpPr>
            <a:spLocks noGrp="1"/>
          </p:cNvSpPr>
          <p:nvPr>
            <p:ph type="body" sz="quarter" idx="23" hasCustomPrompt="1"/>
          </p:nvPr>
        </p:nvSpPr>
        <p:spPr>
          <a:xfrm>
            <a:off x="768551" y="4152016"/>
            <a:ext cx="3168000" cy="216000"/>
          </a:xfrm>
        </p:spPr>
        <p:txBody>
          <a:bodyPr wrap="none" tIns="72000" rIns="36000" bIns="7200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Quelle: Bitte Bildquelle angeben / Name des Fotografen</a:t>
            </a:r>
          </a:p>
        </p:txBody>
      </p:sp>
      <p:sp>
        <p:nvSpPr>
          <p:cNvPr id="14" name="Source 2"/>
          <p:cNvSpPr>
            <a:spLocks noGrp="1"/>
          </p:cNvSpPr>
          <p:nvPr>
            <p:ph type="body" sz="quarter" idx="22" hasCustomPrompt="1"/>
          </p:nvPr>
        </p:nvSpPr>
        <p:spPr>
          <a:xfrm>
            <a:off x="4704000" y="4152017"/>
            <a:ext cx="3168000" cy="216000"/>
          </a:xfrm>
        </p:spPr>
        <p:txBody>
          <a:bodyPr wrap="none" tIns="72000" rIns="36000" bIns="7200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Quelle: Bitte Bildquelle angeben / Name des Fotografen</a:t>
            </a:r>
          </a:p>
        </p:txBody>
      </p:sp>
      <p:sp>
        <p:nvSpPr>
          <p:cNvPr id="13" name="Source 3"/>
          <p:cNvSpPr>
            <a:spLocks noGrp="1"/>
          </p:cNvSpPr>
          <p:nvPr>
            <p:ph type="body" sz="quarter" idx="12" hasCustomPrompt="1"/>
          </p:nvPr>
        </p:nvSpPr>
        <p:spPr>
          <a:xfrm>
            <a:off x="8687451" y="4149900"/>
            <a:ext cx="3168000" cy="216000"/>
          </a:xfrm>
        </p:spPr>
        <p:txBody>
          <a:bodyPr wrap="none" tIns="72000" rIns="36000" bIns="7200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Quelle: Bitte Bildquelle angeben / Name des Fotografen</a:t>
            </a:r>
          </a:p>
        </p:txBody>
      </p:sp>
    </p:spTree>
    <p:extLst>
      <p:ext uri="{BB962C8B-B14F-4D97-AF65-F5344CB8AC3E}">
        <p14:creationId xmlns:p14="http://schemas.microsoft.com/office/powerpoint/2010/main" val="3978091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FBAE40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FBAE40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FBAE40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6" pos="2030">
          <p15:clr>
            <a:srgbClr val="FBAE40"/>
          </p15:clr>
        </p15:guide>
        <p15:guide id="37" pos="3730">
          <p15:clr>
            <a:srgbClr val="FBAE40"/>
          </p15:clr>
        </p15:guide>
        <p15:guide id="39" orient="horz" pos="206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56DB8AA-803C-49D2-90AA-1140CE72DC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239088-CACE-40AB-A355-B04995CD471D}" type="datetime1">
              <a:rPr lang="de-DE" smtClean="0"/>
              <a:t>13.06.2025</a:t>
            </a:fld>
            <a:endParaRPr lang="de-DE"/>
          </a:p>
        </p:txBody>
      </p:sp>
      <p:sp>
        <p:nvSpPr>
          <p:cNvPr id="18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Fußzeile bearbeiten: Einfügen &gt; Kopf- und Fußzeile (Titel der Präsentation und Name des Redners)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 20 pt, max. zweizeilig und drei Inhaltsblöck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quarter" idx="13" hasCustomPrompt="1"/>
          </p:nvPr>
        </p:nvSpPr>
        <p:spPr>
          <a:xfrm>
            <a:off x="336000" y="1488000"/>
            <a:ext cx="3600000" cy="49920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de-DE"/>
              <a:t>Um die Hierarchie der Unterpunkte anzupassen, verwenden Sie Start &gt; Absatz &gt; Listenebene verringern/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8256000" y="1488000"/>
            <a:ext cx="3600000" cy="49920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de-DE"/>
              <a:t>Um die Hierarchie der Unterpunkte anzupassen, verwenden Sie Start &gt; Absatz &gt; Listenebene verringern/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4296000" y="1488000"/>
            <a:ext cx="3600000" cy="49920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de-DE"/>
              <a:t>Um die Hierarchie der Unterpunkte anzupassen, verwenden Sie Start &gt; Absatz &gt; Listenebene verringern/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73612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FBAE40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FBAE40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6" pos="2030">
          <p15:clr>
            <a:srgbClr val="FBAE40"/>
          </p15:clr>
        </p15:guide>
        <p15:guide id="37" pos="373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56DB8AA-803C-49D2-90AA-1140CE72DC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9C421-E82F-460F-BD42-46DE2B6452D8}" type="datetime1">
              <a:rPr lang="de-DE" smtClean="0"/>
              <a:t>13.06.2025</a:t>
            </a:fld>
            <a:endParaRPr lang="de-DE"/>
          </a:p>
        </p:txBody>
      </p:sp>
      <p:sp>
        <p:nvSpPr>
          <p:cNvPr id="15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Fußzeile bearbeiten: Einfügen &gt; Kopf- und Fußzeile (Titel der Präsentation und Name des Redners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20 pt, max. zweizeilig und vier Inhaltsblöck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quarter" idx="13" hasCustomPrompt="1"/>
          </p:nvPr>
        </p:nvSpPr>
        <p:spPr>
          <a:xfrm>
            <a:off x="336000" y="1488000"/>
            <a:ext cx="5580000" cy="23040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de-DE"/>
              <a:t>Um die Hierarchie der Unterpunkte anzupassen, verwenden Sie Start &gt; Absatz &gt; Listenebene verringern/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336000" y="4176000"/>
            <a:ext cx="5580000" cy="23040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de-DE"/>
              <a:t>Um die Hierarchie der Unterpunkte anzupassen, verwenden Sie Start &gt; Absatz &gt; Listenebene verringern/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6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6276000" y="1488000"/>
            <a:ext cx="5580000" cy="23040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de-DE"/>
              <a:t>Um die Hierarchie der Unterpunkte anzupassen, verwenden Sie Start &gt; Absatz &gt; Listenebene verringern/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7" name="Content Placeholder 4">
            <a:extLst>
              <a:ext uri="{FF2B5EF4-FFF2-40B4-BE49-F238E27FC236}">
                <a16:creationId xmlns:a16="http://schemas.microsoft.com/office/drawing/2014/main" id="{4900E005-09BF-4AA0-A122-10A29CE35E4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76000" y="4176000"/>
            <a:ext cx="5580000" cy="23040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de-DE"/>
              <a:t>Um die Hierarchie der Unterpunkte anzupassen, verwenden Sie Start &gt; Absatz &gt; Listenebene verringern/erhöh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63186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FBAE40"/>
          </p15:clr>
        </p15:guide>
        <p15:guide id="29" orient="horz" pos="1973">
          <p15:clr>
            <a:srgbClr val="FBAE40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6" pos="2965">
          <p15:clr>
            <a:srgbClr val="FBAE40"/>
          </p15:clr>
        </p15:guide>
        <p15:guide id="37" pos="279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itle and conten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56DB8AA-803C-49D2-90AA-1140CE72DC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4E492E-6589-497C-A4BB-5F2850D24ED2}" type="datetime1">
              <a:rPr lang="de-DE" smtClean="0"/>
              <a:t>13.06.2025</a:t>
            </a:fld>
            <a:endParaRPr lang="de-DE"/>
          </a:p>
        </p:txBody>
      </p:sp>
      <p:sp>
        <p:nvSpPr>
          <p:cNvPr id="16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Fußzeile bearbeiten: Einfügen &gt; Kopf- und Fußzeile (Titel der Präsentation und Name des Redners)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le 20 pt, max. zweizeilig and contents with comments column</a:t>
            </a:r>
          </a:p>
        </p:txBody>
      </p:sp>
      <p:sp>
        <p:nvSpPr>
          <p:cNvPr id="12" name="Heading Placeholder 1"/>
          <p:cNvSpPr>
            <a:spLocks noGrp="1"/>
          </p:cNvSpPr>
          <p:nvPr>
            <p:ph type="body" sz="quarter" idx="1" hasCustomPrompt="1"/>
          </p:nvPr>
        </p:nvSpPr>
        <p:spPr>
          <a:xfrm>
            <a:off x="336000" y="1488000"/>
            <a:ext cx="11520000" cy="384000"/>
          </a:xfrm>
        </p:spPr>
        <p:txBody>
          <a:bodyPr wrap="square" lIns="0" tIns="0" rIns="0" bIns="0"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2133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Überschrift 16 pt, einzeilig</a:t>
            </a:r>
          </a:p>
        </p:txBody>
      </p:sp>
      <p:sp>
        <p:nvSpPr>
          <p:cNvPr id="14" name="Content Placeholder 1"/>
          <p:cNvSpPr>
            <a:spLocks noGrp="1"/>
          </p:cNvSpPr>
          <p:nvPr>
            <p:ph sz="quarter" idx="19" hasCustomPrompt="1"/>
          </p:nvPr>
        </p:nvSpPr>
        <p:spPr>
          <a:xfrm>
            <a:off x="336000" y="2064000"/>
            <a:ext cx="7200000" cy="4416000"/>
          </a:xfrm>
          <a:effectLst/>
        </p:spPr>
        <p:txBody>
          <a:bodyPr lIns="0" tIns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/>
            </a:lvl1pPr>
          </a:lstStyle>
          <a:p>
            <a:pPr lvl="0"/>
            <a:r>
              <a:rPr lang="de-DE"/>
              <a:t>Klicken Sie auf das Icon in der Mitte, um eine Tabelle, Diagramm, SmartArt Grafik, Bild oder Onlinegrafik einzufügen.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896000" y="2064000"/>
            <a:ext cx="3960000" cy="4416000"/>
          </a:xfrm>
          <a:effectLst/>
        </p:spPr>
        <p:txBody>
          <a:bodyPr lIns="0" tIns="0" rIns="108000" bIns="0">
            <a:noAutofit/>
          </a:bodyPr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</a:lstStyle>
          <a:p>
            <a:pPr lvl="0"/>
            <a:r>
              <a:rPr lang="de-DE" noProof="0"/>
              <a:t>Titel 20 pt, max. zweizeilig und zwei Inhaltsblöck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929837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FBAE40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FBAE40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6" orient="horz" pos="975">
          <p15:clr>
            <a:srgbClr val="FBAE40"/>
          </p15:clr>
        </p15:guide>
        <p15:guide id="37" pos="373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paration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5327651"/>
          </a:xfrm>
          <a:solidFill>
            <a:schemeClr val="tx2"/>
          </a:solidFill>
        </p:spPr>
        <p:txBody>
          <a:bodyPr tIns="1080000" anchor="t" anchorCtr="1"/>
          <a:lstStyle>
            <a:lvl1pPr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Klicken Sie auf das Icon in der Mitte, um ein Bild einzufügen.</a:t>
            </a:r>
          </a:p>
        </p:txBody>
      </p:sp>
      <p:sp>
        <p:nvSpPr>
          <p:cNvPr id="13" name="Text Placeholder 1"/>
          <p:cNvSpPr>
            <a:spLocks noGrp="1"/>
          </p:cNvSpPr>
          <p:nvPr>
            <p:ph type="subTitle" idx="1" hasCustomPrompt="1"/>
          </p:nvPr>
        </p:nvSpPr>
        <p:spPr>
          <a:xfrm>
            <a:off x="0" y="5328000"/>
            <a:ext cx="12192000" cy="1530240"/>
          </a:xfrm>
          <a:solidFill>
            <a:schemeClr val="bg1"/>
          </a:solidFill>
        </p:spPr>
        <p:txBody>
          <a:bodyPr wrap="none" lIns="252000" tIns="72000" bIns="72000" anchor="b" anchorCtr="0">
            <a:noAutofit/>
          </a:bodyPr>
          <a:lstStyle>
            <a:lvl1pPr marL="0" indent="0" algn="dist">
              <a:lnSpc>
                <a:spcPts val="10666"/>
              </a:lnSpc>
              <a:spcAft>
                <a:spcPts val="0"/>
              </a:spcAft>
              <a:buFontTx/>
              <a:buNone/>
              <a:defRPr sz="1000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“01”</a:t>
            </a: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3216000" y="5712000"/>
            <a:ext cx="8640000" cy="768000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rennfolie 20 pt, max. zweizeilig mit Bild</a:t>
            </a:r>
          </a:p>
        </p:txBody>
      </p:sp>
      <p:sp>
        <p:nvSpPr>
          <p:cNvPr id="5" name="Source 1"/>
          <p:cNvSpPr>
            <a:spLocks noGrp="1"/>
          </p:cNvSpPr>
          <p:nvPr>
            <p:ph type="body" sz="quarter" idx="12" hasCustomPrompt="1"/>
          </p:nvPr>
        </p:nvSpPr>
        <p:spPr>
          <a:xfrm>
            <a:off x="9024000" y="5104119"/>
            <a:ext cx="3168000" cy="223532"/>
          </a:xfrm>
        </p:spPr>
        <p:txBody>
          <a:bodyPr wrap="none" tIns="72000" rIns="108000" bIns="7200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Quelle: Bitte Bildquelle angeben / Name des Fotografen</a:t>
            </a:r>
          </a:p>
        </p:txBody>
      </p:sp>
    </p:spTree>
    <p:extLst>
      <p:ext uri="{BB962C8B-B14F-4D97-AF65-F5344CB8AC3E}">
        <p14:creationId xmlns:p14="http://schemas.microsoft.com/office/powerpoint/2010/main" val="3153709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4176000"/>
          </a:xfrm>
          <a:solidFill>
            <a:schemeClr val="tx2"/>
          </a:solidFill>
        </p:spPr>
        <p:txBody>
          <a:bodyPr lIns="540000" tIns="792000" rIns="540000" anchor="t" anchorCtr="1"/>
          <a:lstStyle>
            <a:lvl1pPr marL="0" marR="0" indent="0" algn="l" defTabSz="35999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itchFamily="2" charset="2"/>
              <a:buNone/>
              <a:tabLst/>
              <a:defRPr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35999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de-DE"/>
              <a:t>Klicken Sie auf das Icon in der Mitte, um ein Titelbild einzufügen.</a:t>
            </a:r>
          </a:p>
        </p:txBody>
      </p:sp>
      <p:pic>
        <p:nvPicPr>
          <p:cNvPr id="13" name="MR Logo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12800" y="5817600"/>
            <a:ext cx="2016000" cy="465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6000" y="4368000"/>
            <a:ext cx="8640000" cy="1152000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3200" baseline="0"/>
            </a:lvl1pPr>
          </a:lstStyle>
          <a:p>
            <a:r>
              <a:rPr lang="de-DE"/>
              <a:t>Titel 24 pt,</a:t>
            </a:r>
            <a:br>
              <a:rPr lang="de-DE"/>
            </a:br>
            <a:r>
              <a:rPr lang="de-DE"/>
              <a:t>max. zweizeilig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336000" y="5712000"/>
            <a:ext cx="5760000" cy="576000"/>
          </a:xfrm>
        </p:spPr>
        <p:txBody>
          <a:bodyPr anchor="t" anchorCtr="0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itchFamily="2" charset="2"/>
              <a:buNone/>
              <a:tabLst/>
              <a:defRPr/>
            </a:lvl1pPr>
          </a:lstStyle>
          <a:p>
            <a:r>
              <a:rPr lang="de-DE"/>
              <a:t>Datum: TT.MM.JJJ</a:t>
            </a:r>
          </a:p>
          <a:p>
            <a:r>
              <a:rPr lang="de-DE"/>
              <a:t>Name des Redners</a:t>
            </a:r>
          </a:p>
        </p:txBody>
      </p:sp>
      <p:sp>
        <p:nvSpPr>
          <p:cNvPr id="7" name="Source 1"/>
          <p:cNvSpPr>
            <a:spLocks noGrp="1"/>
          </p:cNvSpPr>
          <p:nvPr>
            <p:ph type="body" sz="quarter" idx="12" hasCustomPrompt="1"/>
          </p:nvPr>
        </p:nvSpPr>
        <p:spPr>
          <a:xfrm>
            <a:off x="9024000" y="3888000"/>
            <a:ext cx="3168000" cy="288000"/>
          </a:xfrm>
        </p:spPr>
        <p:txBody>
          <a:bodyPr wrap="none" tIns="72000" rIns="108000" bIns="7200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Quelle: Bitte Bildquelle angeben / Name des Fotografen</a:t>
            </a:r>
          </a:p>
        </p:txBody>
      </p:sp>
    </p:spTree>
    <p:extLst>
      <p:ext uri="{BB962C8B-B14F-4D97-AF65-F5344CB8AC3E}">
        <p14:creationId xmlns:p14="http://schemas.microsoft.com/office/powerpoint/2010/main" val="3030523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7" orient="horz" pos="2064">
          <p15:clr>
            <a:srgbClr val="FBAE40"/>
          </p15:clr>
        </p15:guide>
        <p15:guide id="38" orient="horz" pos="260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paration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4176000"/>
            <a:ext cx="12192000" cy="2682240"/>
          </a:xfrm>
          <a:solidFill>
            <a:schemeClr val="tx2"/>
          </a:solidFill>
        </p:spPr>
        <p:txBody>
          <a:bodyPr tIns="1260000" anchor="t" anchorCtr="1"/>
          <a:lstStyle>
            <a:lvl1pPr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Klicken Sie auf das Icon in der Mitte, um ein Bild einzufügen.</a:t>
            </a: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336000" y="1488000"/>
            <a:ext cx="8640000" cy="1152000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e-DE"/>
              <a:t>Trennfolie 20 pt, max. dreizeilig mit Bild</a:t>
            </a:r>
          </a:p>
        </p:txBody>
      </p:sp>
      <p:sp>
        <p:nvSpPr>
          <p:cNvPr id="13" name="Text Placeholder 1"/>
          <p:cNvSpPr>
            <a:spLocks noGrp="1"/>
          </p:cNvSpPr>
          <p:nvPr>
            <p:ph type="subTitle" idx="1" hasCustomPrompt="1"/>
          </p:nvPr>
        </p:nvSpPr>
        <p:spPr>
          <a:xfrm>
            <a:off x="336000" y="5328000"/>
            <a:ext cx="2880000" cy="1530240"/>
          </a:xfrm>
        </p:spPr>
        <p:txBody>
          <a:bodyPr wrap="none" tIns="72000" anchor="t" anchorCtr="0">
            <a:noAutofit/>
          </a:bodyPr>
          <a:lstStyle>
            <a:lvl1pPr marL="0" indent="0" algn="dist">
              <a:lnSpc>
                <a:spcPts val="10666"/>
              </a:lnSpc>
              <a:spcAft>
                <a:spcPts val="0"/>
              </a:spcAft>
              <a:buFontTx/>
              <a:buNone/>
              <a:defRPr sz="10666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“01”</a:t>
            </a:r>
          </a:p>
        </p:txBody>
      </p:sp>
      <p:sp>
        <p:nvSpPr>
          <p:cNvPr id="5" name="Source 1"/>
          <p:cNvSpPr>
            <a:spLocks noGrp="1"/>
          </p:cNvSpPr>
          <p:nvPr>
            <p:ph type="body" sz="quarter" idx="12" hasCustomPrompt="1"/>
          </p:nvPr>
        </p:nvSpPr>
        <p:spPr>
          <a:xfrm>
            <a:off x="9024000" y="6570240"/>
            <a:ext cx="3168000" cy="288000"/>
          </a:xfrm>
        </p:spPr>
        <p:txBody>
          <a:bodyPr wrap="none" tIns="72000" rIns="108000" bIns="7200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Quelle: Bitte Bildquelle angeben / Name des Fotografen</a:t>
            </a:r>
          </a:p>
        </p:txBody>
      </p:sp>
    </p:spTree>
    <p:extLst>
      <p:ext uri="{BB962C8B-B14F-4D97-AF65-F5344CB8AC3E}">
        <p14:creationId xmlns:p14="http://schemas.microsoft.com/office/powerpoint/2010/main" val="3668075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FBAE40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FBAE40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FBAE40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FBAE40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paration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3936000" y="0"/>
            <a:ext cx="8256000" cy="6858267"/>
          </a:xfrm>
          <a:solidFill>
            <a:schemeClr val="tx2"/>
          </a:solidFill>
        </p:spPr>
        <p:txBody>
          <a:bodyPr tIns="1080000" anchor="t" anchorCtr="1"/>
          <a:lstStyle>
            <a:lvl1pPr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Klicken Sie auf das Icon in der Mitte, um ein Bild einzufügen.</a:t>
            </a:r>
          </a:p>
        </p:txBody>
      </p:sp>
      <p:sp>
        <p:nvSpPr>
          <p:cNvPr id="13" name="Text Placeholder 1"/>
          <p:cNvSpPr>
            <a:spLocks noGrp="1"/>
          </p:cNvSpPr>
          <p:nvPr>
            <p:ph type="subTitle" idx="1" hasCustomPrompt="1"/>
          </p:nvPr>
        </p:nvSpPr>
        <p:spPr>
          <a:xfrm>
            <a:off x="0" y="5328000"/>
            <a:ext cx="3936000" cy="1530240"/>
          </a:xfrm>
          <a:solidFill>
            <a:schemeClr val="bg1"/>
          </a:solidFill>
        </p:spPr>
        <p:txBody>
          <a:bodyPr wrap="none" lIns="252000" tIns="72000" bIns="72000" anchor="b" anchorCtr="0">
            <a:noAutofit/>
          </a:bodyPr>
          <a:lstStyle>
            <a:lvl1pPr marL="0" indent="0" algn="dist">
              <a:lnSpc>
                <a:spcPts val="10666"/>
              </a:lnSpc>
              <a:spcAft>
                <a:spcPts val="0"/>
              </a:spcAft>
              <a:buFontTx/>
              <a:buNone/>
              <a:defRPr sz="10000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“01”</a:t>
            </a: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336000" y="336000"/>
            <a:ext cx="3240000" cy="2304000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rennfolie</a:t>
            </a:r>
            <a:br>
              <a:rPr lang="de-DE"/>
            </a:br>
            <a:r>
              <a:rPr lang="de-DE"/>
              <a:t>mit Bild 20 pt, maximal fünfzeilig</a:t>
            </a:r>
          </a:p>
        </p:txBody>
      </p:sp>
      <p:sp>
        <p:nvSpPr>
          <p:cNvPr id="5" name="Source 1"/>
          <p:cNvSpPr>
            <a:spLocks noGrp="1"/>
          </p:cNvSpPr>
          <p:nvPr>
            <p:ph type="body" sz="quarter" idx="12" hasCustomPrompt="1"/>
          </p:nvPr>
        </p:nvSpPr>
        <p:spPr>
          <a:xfrm>
            <a:off x="9024000" y="6634469"/>
            <a:ext cx="3168000" cy="223532"/>
          </a:xfrm>
        </p:spPr>
        <p:txBody>
          <a:bodyPr wrap="none" tIns="72000" rIns="108000" bIns="7200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Quelle: Bitte Bildquelle angeben / Name des Fotografen</a:t>
            </a:r>
          </a:p>
        </p:txBody>
      </p:sp>
    </p:spTree>
    <p:extLst>
      <p:ext uri="{BB962C8B-B14F-4D97-AF65-F5344CB8AC3E}">
        <p14:creationId xmlns:p14="http://schemas.microsoft.com/office/powerpoint/2010/main" val="232542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FBAE40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FBAE40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FBAE40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6" pos="168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paration slid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3936000" y="0"/>
            <a:ext cx="8256000" cy="6858267"/>
          </a:xfrm>
          <a:solidFill>
            <a:schemeClr val="accent1"/>
          </a:solidFill>
        </p:spPr>
        <p:txBody>
          <a:bodyPr tIns="1080000" anchor="t" anchorCtr="1"/>
          <a:lstStyle>
            <a:lvl1pPr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Klicken Sie auf das Icon in der Mitte, um ein Bild einzufügen.</a:t>
            </a: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336000" y="336000"/>
            <a:ext cx="3240000" cy="2304000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rennfolie</a:t>
            </a:r>
            <a:br>
              <a:rPr lang="de-DE"/>
            </a:br>
            <a:r>
              <a:rPr lang="de-DE"/>
              <a:t>mit Bild 20 pt, maximal fünfzeilig</a:t>
            </a:r>
          </a:p>
        </p:txBody>
      </p:sp>
      <p:sp>
        <p:nvSpPr>
          <p:cNvPr id="5" name="Source 1"/>
          <p:cNvSpPr>
            <a:spLocks noGrp="1"/>
          </p:cNvSpPr>
          <p:nvPr>
            <p:ph type="body" sz="quarter" idx="12" hasCustomPrompt="1"/>
          </p:nvPr>
        </p:nvSpPr>
        <p:spPr>
          <a:xfrm>
            <a:off x="9024000" y="6634469"/>
            <a:ext cx="3168000" cy="223532"/>
          </a:xfrm>
        </p:spPr>
        <p:txBody>
          <a:bodyPr wrap="none" tIns="72000" rIns="108000" bIns="7200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Quelle: Bitte Bildquelle angeben / Name des Fotografen</a:t>
            </a:r>
          </a:p>
        </p:txBody>
      </p:sp>
      <p:sp>
        <p:nvSpPr>
          <p:cNvPr id="13" name="Text Placeholder 1"/>
          <p:cNvSpPr>
            <a:spLocks noGrp="1"/>
          </p:cNvSpPr>
          <p:nvPr>
            <p:ph type="subTitle" idx="1" hasCustomPrompt="1"/>
          </p:nvPr>
        </p:nvSpPr>
        <p:spPr>
          <a:xfrm>
            <a:off x="0" y="5328000"/>
            <a:ext cx="3936000" cy="1530240"/>
          </a:xfrm>
          <a:noFill/>
        </p:spPr>
        <p:txBody>
          <a:bodyPr wrap="none" lIns="252000" tIns="72000" bIns="72000" anchor="b" anchorCtr="0">
            <a:noAutofit/>
          </a:bodyPr>
          <a:lstStyle>
            <a:lvl1pPr marL="0" indent="0" algn="dist">
              <a:lnSpc>
                <a:spcPts val="10666"/>
              </a:lnSpc>
              <a:spcAft>
                <a:spcPts val="0"/>
              </a:spcAft>
              <a:buFontTx/>
              <a:buNone/>
              <a:defRPr sz="100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“01”</a:t>
            </a:r>
          </a:p>
        </p:txBody>
      </p:sp>
    </p:spTree>
    <p:extLst>
      <p:ext uri="{BB962C8B-B14F-4D97-AF65-F5344CB8AC3E}">
        <p14:creationId xmlns:p14="http://schemas.microsoft.com/office/powerpoint/2010/main" val="2154470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FBAE40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FBAE40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FBAE40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6" pos="168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56DB8AA-803C-49D2-90AA-1140CE72DC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620227-B6BE-4FEF-A056-D0BB69985089}" type="datetime1">
              <a:rPr lang="de-DE" smtClean="0"/>
              <a:t>13.06.2025</a:t>
            </a:fld>
            <a:endParaRPr lang="de-DE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Fußzeile bearbeiten: Einfügen &gt; Kopf- und Fußzeile (Titel der Präsentation und Name des Redners)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Nur Titel 20 pt, max. zweizeilig</a:t>
            </a:r>
          </a:p>
        </p:txBody>
      </p:sp>
    </p:spTree>
    <p:extLst>
      <p:ext uri="{BB962C8B-B14F-4D97-AF65-F5344CB8AC3E}">
        <p14:creationId xmlns:p14="http://schemas.microsoft.com/office/powerpoint/2010/main" val="4058712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6" pos="2710">
          <p15:clr>
            <a:srgbClr val="FBAE40"/>
          </p15:clr>
        </p15:guide>
        <p15:guide id="37" pos="3050">
          <p15:clr>
            <a:srgbClr val="FBAE40"/>
          </p15:clr>
        </p15:guide>
        <p15:guide id="38" orient="horz" pos="1519">
          <p15:clr>
            <a:srgbClr val="FBAE40"/>
          </p15:clr>
        </p15:guide>
        <p15:guide id="39" orient="horz" pos="170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56DB8AA-803C-49D2-90AA-1140CE72DC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23572-8AA8-45DA-8170-D5EC69CD29C2}" type="datetime1">
              <a:rPr lang="de-DE" smtClean="0"/>
              <a:t>13.06.2025</a:t>
            </a:fld>
            <a:endParaRPr lang="de-DE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Fußzeile bearbeiten: Einfügen &gt; Kopf- und Fußzeile (Titel der Präsentation und Name des Redners)</a:t>
            </a:r>
          </a:p>
        </p:txBody>
      </p:sp>
    </p:spTree>
    <p:extLst>
      <p:ext uri="{BB962C8B-B14F-4D97-AF65-F5344CB8AC3E}">
        <p14:creationId xmlns:p14="http://schemas.microsoft.com/office/powerpoint/2010/main" val="303536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6" pos="2710">
          <p15:clr>
            <a:srgbClr val="FBAE40"/>
          </p15:clr>
        </p15:guide>
        <p15:guide id="37" pos="3050">
          <p15:clr>
            <a:srgbClr val="FBAE40"/>
          </p15:clr>
        </p15:guide>
        <p15:guide id="38" orient="horz" pos="1519">
          <p15:clr>
            <a:srgbClr val="FBAE40"/>
          </p15:clr>
        </p15:guide>
        <p15:guide id="39" orient="horz" pos="170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6">
            <a:extLst>
              <a:ext uri="{FF2B5EF4-FFF2-40B4-BE49-F238E27FC236}">
                <a16:creationId xmlns:a16="http://schemas.microsoft.com/office/drawing/2014/main" id="{FF4072A1-3199-46B9-9486-2E737BB1202F}"/>
              </a:ext>
            </a:extLst>
          </p:cNvPr>
          <p:cNvSpPr/>
          <p:nvPr/>
        </p:nvSpPr>
        <p:spPr>
          <a:xfrm>
            <a:off x="8256000" y="4176000"/>
            <a:ext cx="3600000" cy="23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de-DE" sz="1867">
              <a:solidFill>
                <a:schemeClr val="bg1"/>
              </a:solidFill>
            </a:endParaRPr>
          </a:p>
        </p:txBody>
      </p:sp>
      <p:sp>
        <p:nvSpPr>
          <p:cNvPr id="68" name="Content Placeholder 6">
            <a:extLst>
              <a:ext uri="{FF2B5EF4-FFF2-40B4-BE49-F238E27FC236}">
                <a16:creationId xmlns:a16="http://schemas.microsoft.com/office/drawing/2014/main" id="{E728B84C-A7A3-D4F0-6835-25A02729F4DA}"/>
              </a:ext>
            </a:extLst>
          </p:cNvPr>
          <p:cNvSpPr>
            <a:spLocks noGrp="1"/>
          </p:cNvSpPr>
          <p:nvPr>
            <p:ph sz="quarter" idx="46" hasCustomPrompt="1"/>
          </p:nvPr>
        </p:nvSpPr>
        <p:spPr>
          <a:xfrm>
            <a:off x="8256000" y="5904000"/>
            <a:ext cx="3600000" cy="576000"/>
          </a:xfrm>
        </p:spPr>
        <p:txBody>
          <a:bodyPr lIns="72000" tIns="0" rIns="0" bIns="0"/>
          <a:lstStyle>
            <a:lvl1pPr>
              <a:spcAft>
                <a:spcPts val="0"/>
              </a:spcAft>
              <a:defRPr sz="12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/>
              <a:t>Text</a:t>
            </a:r>
          </a:p>
          <a:p>
            <a:pPr lvl="1"/>
            <a:endParaRPr lang="de-DE"/>
          </a:p>
        </p:txBody>
      </p:sp>
      <p:sp>
        <p:nvSpPr>
          <p:cNvPr id="67" name="Contact 6">
            <a:extLst>
              <a:ext uri="{FF2B5EF4-FFF2-40B4-BE49-F238E27FC236}">
                <a16:creationId xmlns:a16="http://schemas.microsoft.com/office/drawing/2014/main" id="{2174ECBA-CA4B-4D40-86A3-09769B3C1AF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696000" y="4752000"/>
            <a:ext cx="2016000" cy="408000"/>
          </a:xfrm>
        </p:spPr>
        <p:txBody>
          <a:bodyPr wrap="none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1pPr>
          </a:lstStyle>
          <a:p>
            <a:pPr lvl="0"/>
            <a:r>
              <a:rPr lang="de-DE"/>
              <a:t>+00 11 123 456 789</a:t>
            </a:r>
            <a:br>
              <a:rPr lang="de-DE"/>
            </a:br>
            <a:r>
              <a:rPr lang="de-DE"/>
              <a:t>email@munichre.com</a:t>
            </a:r>
          </a:p>
        </p:txBody>
      </p:sp>
      <p:sp>
        <p:nvSpPr>
          <p:cNvPr id="66" name="Name 6">
            <a:extLst>
              <a:ext uri="{FF2B5EF4-FFF2-40B4-BE49-F238E27FC236}">
                <a16:creationId xmlns:a16="http://schemas.microsoft.com/office/drawing/2014/main" id="{EC994742-6BF4-44FA-B523-43D25397F8C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696000" y="4344000"/>
            <a:ext cx="2016000" cy="216000"/>
          </a:xfrm>
        </p:spPr>
        <p:txBody>
          <a:bodyPr wrap="none" tIns="72000" rIns="36000" bIns="7200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65" name="Picture Placeholder 6">
            <a:extLst>
              <a:ext uri="{FF2B5EF4-FFF2-40B4-BE49-F238E27FC236}">
                <a16:creationId xmlns:a16="http://schemas.microsoft.com/office/drawing/2014/main" id="{40E27AE8-7D5C-46F7-8FD4-F006D4F7AF50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8256000" y="4176000"/>
            <a:ext cx="1200000" cy="1536000"/>
          </a:xfr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>
              <a:defRPr lang="de-DE" sz="120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de-DE" noProof="0"/>
              <a:t>Klicken Sie auf das Icon in der Mitte, um ein Bild einzufügen.</a:t>
            </a:r>
          </a:p>
        </p:txBody>
      </p:sp>
      <p:sp>
        <p:nvSpPr>
          <p:cNvPr id="45" name="Rechteck 5">
            <a:extLst>
              <a:ext uri="{FF2B5EF4-FFF2-40B4-BE49-F238E27FC236}">
                <a16:creationId xmlns:a16="http://schemas.microsoft.com/office/drawing/2014/main" id="{C37621D2-9A1C-4A58-818C-F86DE079428E}"/>
              </a:ext>
            </a:extLst>
          </p:cNvPr>
          <p:cNvSpPr/>
          <p:nvPr/>
        </p:nvSpPr>
        <p:spPr>
          <a:xfrm>
            <a:off x="4296000" y="4176000"/>
            <a:ext cx="3600000" cy="23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rtlCol="0" anchor="ctr" anchorCtr="0"/>
          <a:lstStyle/>
          <a:p>
            <a:pPr algn="ctr"/>
            <a:endParaRPr lang="de-DE" sz="1867">
              <a:solidFill>
                <a:schemeClr val="bg1"/>
              </a:solidFill>
            </a:endParaRPr>
          </a:p>
        </p:txBody>
      </p:sp>
      <p:sp>
        <p:nvSpPr>
          <p:cNvPr id="53" name="Content Placeholder 5">
            <a:extLst>
              <a:ext uri="{FF2B5EF4-FFF2-40B4-BE49-F238E27FC236}">
                <a16:creationId xmlns:a16="http://schemas.microsoft.com/office/drawing/2014/main" id="{50FCB883-E9ED-E5C7-9534-6351555E64D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4296000" y="5904000"/>
            <a:ext cx="3600000" cy="576000"/>
          </a:xfrm>
        </p:spPr>
        <p:txBody>
          <a:bodyPr lIns="72000" tIns="0" rIns="0" bIns="0"/>
          <a:lstStyle>
            <a:lvl1pPr>
              <a:spcAft>
                <a:spcPts val="0"/>
              </a:spcAft>
              <a:defRPr sz="12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/>
              <a:t>Text</a:t>
            </a:r>
          </a:p>
          <a:p>
            <a:pPr lvl="1"/>
            <a:endParaRPr lang="de-DE"/>
          </a:p>
        </p:txBody>
      </p:sp>
      <p:sp>
        <p:nvSpPr>
          <p:cNvPr id="64" name="Contact 5">
            <a:extLst>
              <a:ext uri="{FF2B5EF4-FFF2-40B4-BE49-F238E27FC236}">
                <a16:creationId xmlns:a16="http://schemas.microsoft.com/office/drawing/2014/main" id="{AFB62FAF-3C3B-4A32-94CE-9F5FCDD35F3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736000" y="4752000"/>
            <a:ext cx="2016000" cy="408000"/>
          </a:xfrm>
        </p:spPr>
        <p:txBody>
          <a:bodyPr wrap="none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1pPr>
          </a:lstStyle>
          <a:p>
            <a:pPr lvl="0"/>
            <a:r>
              <a:rPr lang="de-DE"/>
              <a:t>+00 11 123 456 789</a:t>
            </a:r>
            <a:br>
              <a:rPr lang="de-DE"/>
            </a:br>
            <a:r>
              <a:rPr lang="de-DE"/>
              <a:t>email@munichre.com</a:t>
            </a:r>
          </a:p>
        </p:txBody>
      </p:sp>
      <p:sp>
        <p:nvSpPr>
          <p:cNvPr id="63" name="Name 5">
            <a:extLst>
              <a:ext uri="{FF2B5EF4-FFF2-40B4-BE49-F238E27FC236}">
                <a16:creationId xmlns:a16="http://schemas.microsoft.com/office/drawing/2014/main" id="{0F6C497F-F35C-4C47-822A-37AB4D62B3A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36000" y="4344000"/>
            <a:ext cx="2016000" cy="216000"/>
          </a:xfrm>
        </p:spPr>
        <p:txBody>
          <a:bodyPr wrap="none" tIns="72000" rIns="36000" bIns="7200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62" name="Picture Placeholder 5">
            <a:extLst>
              <a:ext uri="{FF2B5EF4-FFF2-40B4-BE49-F238E27FC236}">
                <a16:creationId xmlns:a16="http://schemas.microsoft.com/office/drawing/2014/main" id="{55F88616-9EBF-4C43-A518-74DA8C8F87A1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4392000" y="4272000"/>
            <a:ext cx="1200000" cy="1536000"/>
          </a:xfr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>
              <a:defRPr lang="de-DE" sz="120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de-DE" noProof="0"/>
              <a:t>Klicken Sie auf das Icon in der Mitte, um ein Bild einzufügen.</a:t>
            </a:r>
          </a:p>
        </p:txBody>
      </p:sp>
      <p:sp>
        <p:nvSpPr>
          <p:cNvPr id="44" name="Rechteck 4">
            <a:extLst>
              <a:ext uri="{FF2B5EF4-FFF2-40B4-BE49-F238E27FC236}">
                <a16:creationId xmlns:a16="http://schemas.microsoft.com/office/drawing/2014/main" id="{CD04B862-4D08-4CEC-B795-ED86DC1C0ABC}"/>
              </a:ext>
            </a:extLst>
          </p:cNvPr>
          <p:cNvSpPr/>
          <p:nvPr/>
        </p:nvSpPr>
        <p:spPr>
          <a:xfrm>
            <a:off x="336000" y="4176000"/>
            <a:ext cx="3600000" cy="23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de-DE" sz="1867">
              <a:solidFill>
                <a:schemeClr val="bg1"/>
              </a:solidFill>
            </a:endParaRPr>
          </a:p>
        </p:txBody>
      </p:sp>
      <p:sp>
        <p:nvSpPr>
          <p:cNvPr id="40" name="Content Placeholder 4">
            <a:extLst>
              <a:ext uri="{FF2B5EF4-FFF2-40B4-BE49-F238E27FC236}">
                <a16:creationId xmlns:a16="http://schemas.microsoft.com/office/drawing/2014/main" id="{5BE75176-28DB-9548-347F-A024C3A44D08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336000" y="5904000"/>
            <a:ext cx="3600000" cy="576000"/>
          </a:xfrm>
        </p:spPr>
        <p:txBody>
          <a:bodyPr lIns="72000" tIns="0" rIns="0" bIns="0"/>
          <a:lstStyle>
            <a:lvl1pPr>
              <a:spcAft>
                <a:spcPts val="0"/>
              </a:spcAft>
              <a:defRPr sz="12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/>
              <a:t>Text</a:t>
            </a:r>
          </a:p>
          <a:p>
            <a:pPr lvl="1"/>
            <a:endParaRPr lang="de-DE"/>
          </a:p>
        </p:txBody>
      </p:sp>
      <p:sp>
        <p:nvSpPr>
          <p:cNvPr id="56" name="Contact 4">
            <a:extLst>
              <a:ext uri="{FF2B5EF4-FFF2-40B4-BE49-F238E27FC236}">
                <a16:creationId xmlns:a16="http://schemas.microsoft.com/office/drawing/2014/main" id="{6D8773A0-B709-4FE3-BB73-CBF7A65227F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76000" y="4752000"/>
            <a:ext cx="2016000" cy="408000"/>
          </a:xfrm>
        </p:spPr>
        <p:txBody>
          <a:bodyPr wrap="none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1pPr>
          </a:lstStyle>
          <a:p>
            <a:pPr lvl="0"/>
            <a:r>
              <a:rPr lang="de-DE"/>
              <a:t>+00 11 123 456 789</a:t>
            </a:r>
            <a:br>
              <a:rPr lang="de-DE"/>
            </a:br>
            <a:r>
              <a:rPr lang="de-DE"/>
              <a:t>email@munichre.com</a:t>
            </a:r>
          </a:p>
        </p:txBody>
      </p:sp>
      <p:sp>
        <p:nvSpPr>
          <p:cNvPr id="55" name="Name 4">
            <a:extLst>
              <a:ext uri="{FF2B5EF4-FFF2-40B4-BE49-F238E27FC236}">
                <a16:creationId xmlns:a16="http://schemas.microsoft.com/office/drawing/2014/main" id="{F53E8E51-08B1-41ED-90E6-677825AA314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76000" y="4344000"/>
            <a:ext cx="2016000" cy="216000"/>
          </a:xfrm>
        </p:spPr>
        <p:txBody>
          <a:bodyPr wrap="none" tIns="72000" rIns="36000" bIns="7200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54" name="Picture Placeholder 4">
            <a:extLst>
              <a:ext uri="{FF2B5EF4-FFF2-40B4-BE49-F238E27FC236}">
                <a16:creationId xmlns:a16="http://schemas.microsoft.com/office/drawing/2014/main" id="{5119A483-DC69-4107-93C6-BD28231A0F0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32000" y="4272000"/>
            <a:ext cx="1200000" cy="1536000"/>
          </a:xfr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>
              <a:defRPr lang="de-DE" sz="120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de-DE" noProof="0"/>
              <a:t>Klicken Sie auf das Icon in der Mitte, um ein Bild einzufügen.</a:t>
            </a:r>
          </a:p>
        </p:txBody>
      </p:sp>
      <p:sp>
        <p:nvSpPr>
          <p:cNvPr id="43" name="Rechteck 3">
            <a:extLst>
              <a:ext uri="{FF2B5EF4-FFF2-40B4-BE49-F238E27FC236}">
                <a16:creationId xmlns:a16="http://schemas.microsoft.com/office/drawing/2014/main" id="{48767779-18F7-4B5E-B714-78C66BD0728F}"/>
              </a:ext>
            </a:extLst>
          </p:cNvPr>
          <p:cNvSpPr/>
          <p:nvPr/>
        </p:nvSpPr>
        <p:spPr>
          <a:xfrm>
            <a:off x="8256000" y="1488000"/>
            <a:ext cx="3600000" cy="2304000"/>
          </a:xfrm>
          <a:prstGeom prst="rect">
            <a:avLst/>
          </a:prstGeom>
          <a:solidFill>
            <a:srgbClr val="F4F4F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de-DE" sz="1867">
              <a:solidFill>
                <a:schemeClr val="bg1"/>
              </a:solidFill>
            </a:endParaRPr>
          </a:p>
        </p:txBody>
      </p:sp>
      <p:sp>
        <p:nvSpPr>
          <p:cNvPr id="39" name="Content Placeholder 3">
            <a:extLst>
              <a:ext uri="{FF2B5EF4-FFF2-40B4-BE49-F238E27FC236}">
                <a16:creationId xmlns:a16="http://schemas.microsoft.com/office/drawing/2014/main" id="{9CEEF168-E0A8-424E-1092-1805DBD55B41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8256000" y="3216000"/>
            <a:ext cx="3600000" cy="576000"/>
          </a:xfrm>
        </p:spPr>
        <p:txBody>
          <a:bodyPr lIns="72000" tIns="0" rIns="0" bIns="0"/>
          <a:lstStyle>
            <a:lvl1pPr>
              <a:spcAft>
                <a:spcPts val="0"/>
              </a:spcAft>
              <a:defRPr sz="12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/>
              <a:t>Text</a:t>
            </a:r>
          </a:p>
          <a:p>
            <a:pPr lvl="1"/>
            <a:endParaRPr lang="de-DE"/>
          </a:p>
        </p:txBody>
      </p:sp>
      <p:sp>
        <p:nvSpPr>
          <p:cNvPr id="59" name="Contact 3">
            <a:extLst>
              <a:ext uri="{FF2B5EF4-FFF2-40B4-BE49-F238E27FC236}">
                <a16:creationId xmlns:a16="http://schemas.microsoft.com/office/drawing/2014/main" id="{8CD8A673-7656-4646-867B-4546BF0127D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96000" y="2064000"/>
            <a:ext cx="2016000" cy="408000"/>
          </a:xfrm>
        </p:spPr>
        <p:txBody>
          <a:bodyPr wrap="none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1pPr>
          </a:lstStyle>
          <a:p>
            <a:pPr lvl="0"/>
            <a:r>
              <a:rPr lang="de-DE"/>
              <a:t>+00 11 123 456 789</a:t>
            </a:r>
            <a:br>
              <a:rPr lang="de-DE"/>
            </a:br>
            <a:r>
              <a:rPr lang="de-DE"/>
              <a:t>email@munichre.com</a:t>
            </a:r>
          </a:p>
        </p:txBody>
      </p:sp>
      <p:sp>
        <p:nvSpPr>
          <p:cNvPr id="58" name="Name 3">
            <a:extLst>
              <a:ext uri="{FF2B5EF4-FFF2-40B4-BE49-F238E27FC236}">
                <a16:creationId xmlns:a16="http://schemas.microsoft.com/office/drawing/2014/main" id="{69AEB903-AA28-4012-8EB0-BBFFAA1485A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696000" y="1656000"/>
            <a:ext cx="2016000" cy="216000"/>
          </a:xfrm>
        </p:spPr>
        <p:txBody>
          <a:bodyPr wrap="none" tIns="72000" rIns="36000" bIns="7200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57" name="Picture Placeholder 3">
            <a:extLst>
              <a:ext uri="{FF2B5EF4-FFF2-40B4-BE49-F238E27FC236}">
                <a16:creationId xmlns:a16="http://schemas.microsoft.com/office/drawing/2014/main" id="{9F817805-7528-4333-AA99-6DDAC9B891D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8352000" y="1584000"/>
            <a:ext cx="1200000" cy="1536000"/>
          </a:xfr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>
              <a:defRPr lang="de-DE" sz="120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de-DE" noProof="0"/>
              <a:t>Klicken Sie auf das Icon in der Mitte, um ein Bild einzufügen.</a:t>
            </a:r>
          </a:p>
        </p:txBody>
      </p:sp>
      <p:sp>
        <p:nvSpPr>
          <p:cNvPr id="42" name="Rechteck 2">
            <a:extLst>
              <a:ext uri="{FF2B5EF4-FFF2-40B4-BE49-F238E27FC236}">
                <a16:creationId xmlns:a16="http://schemas.microsoft.com/office/drawing/2014/main" id="{8039CE65-DD1C-4EC4-B60E-281463168C6D}"/>
              </a:ext>
            </a:extLst>
          </p:cNvPr>
          <p:cNvSpPr/>
          <p:nvPr/>
        </p:nvSpPr>
        <p:spPr>
          <a:xfrm>
            <a:off x="4296000" y="1488000"/>
            <a:ext cx="3600000" cy="2304000"/>
          </a:xfrm>
          <a:prstGeom prst="rect">
            <a:avLst/>
          </a:prstGeom>
          <a:solidFill>
            <a:srgbClr val="F4F4F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de-DE" sz="1867">
              <a:solidFill>
                <a:schemeClr val="bg1"/>
              </a:solidFill>
            </a:endParaRP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71259E42-B858-3EDA-BDFA-3E6EE033E782}"/>
              </a:ext>
            </a:extLst>
          </p:cNvPr>
          <p:cNvSpPr>
            <a:spLocks noGrp="1"/>
          </p:cNvSpPr>
          <p:nvPr>
            <p:ph sz="quarter" idx="42" hasCustomPrompt="1"/>
          </p:nvPr>
        </p:nvSpPr>
        <p:spPr>
          <a:xfrm>
            <a:off x="4296000" y="3216000"/>
            <a:ext cx="3600000" cy="576000"/>
          </a:xfrm>
        </p:spPr>
        <p:txBody>
          <a:bodyPr lIns="72000" tIns="0" rIns="0" bIns="0"/>
          <a:lstStyle>
            <a:lvl1pPr>
              <a:spcAft>
                <a:spcPts val="0"/>
              </a:spcAft>
              <a:defRPr sz="12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/>
              <a:t>Text</a:t>
            </a:r>
          </a:p>
          <a:p>
            <a:pPr lvl="1"/>
            <a:endParaRPr lang="de-DE"/>
          </a:p>
        </p:txBody>
      </p:sp>
      <p:sp>
        <p:nvSpPr>
          <p:cNvPr id="52" name="Contact 2">
            <a:extLst>
              <a:ext uri="{FF2B5EF4-FFF2-40B4-BE49-F238E27FC236}">
                <a16:creationId xmlns:a16="http://schemas.microsoft.com/office/drawing/2014/main" id="{CFCA952A-7744-4F85-B307-DBF950B962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736000" y="2064000"/>
            <a:ext cx="2016000" cy="408000"/>
          </a:xfrm>
        </p:spPr>
        <p:txBody>
          <a:bodyPr wrap="none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1pPr>
          </a:lstStyle>
          <a:p>
            <a:pPr lvl="0"/>
            <a:r>
              <a:rPr lang="de-DE"/>
              <a:t>+00 11 123 456 789</a:t>
            </a:r>
            <a:br>
              <a:rPr lang="de-DE"/>
            </a:br>
            <a:r>
              <a:rPr lang="de-DE"/>
              <a:t>email@munichre.com</a:t>
            </a:r>
          </a:p>
        </p:txBody>
      </p:sp>
      <p:sp>
        <p:nvSpPr>
          <p:cNvPr id="51" name="Name 2">
            <a:extLst>
              <a:ext uri="{FF2B5EF4-FFF2-40B4-BE49-F238E27FC236}">
                <a16:creationId xmlns:a16="http://schemas.microsoft.com/office/drawing/2014/main" id="{19233580-ED8E-4BA6-9253-BB1D548F80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736000" y="1656000"/>
            <a:ext cx="2016000" cy="216000"/>
          </a:xfrm>
        </p:spPr>
        <p:txBody>
          <a:bodyPr wrap="none" tIns="72000" rIns="36000" bIns="7200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50" name="Picture Placeholder 2">
            <a:extLst>
              <a:ext uri="{FF2B5EF4-FFF2-40B4-BE49-F238E27FC236}">
                <a16:creationId xmlns:a16="http://schemas.microsoft.com/office/drawing/2014/main" id="{6001510B-4815-4720-B8D1-3A4BD0FD6400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392000" y="1584000"/>
            <a:ext cx="1200000" cy="1536000"/>
          </a:xfr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>
              <a:defRPr lang="de-DE" sz="120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de-DE" noProof="0"/>
              <a:t>Klicken Sie auf das Icon in der Mitte, um ein Bild einzufügen.</a:t>
            </a:r>
          </a:p>
        </p:txBody>
      </p:sp>
      <p:sp>
        <p:nvSpPr>
          <p:cNvPr id="41" name="Rechteck 1">
            <a:extLst>
              <a:ext uri="{FF2B5EF4-FFF2-40B4-BE49-F238E27FC236}">
                <a16:creationId xmlns:a16="http://schemas.microsoft.com/office/drawing/2014/main" id="{F15FF932-8D41-49B6-9245-D90D9BEF474E}"/>
              </a:ext>
            </a:extLst>
          </p:cNvPr>
          <p:cNvSpPr/>
          <p:nvPr/>
        </p:nvSpPr>
        <p:spPr>
          <a:xfrm>
            <a:off x="336000" y="1488000"/>
            <a:ext cx="3600000" cy="2304000"/>
          </a:xfrm>
          <a:prstGeom prst="rect">
            <a:avLst/>
          </a:prstGeom>
          <a:solidFill>
            <a:srgbClr val="F4F4F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de-DE" sz="1867">
              <a:solidFill>
                <a:schemeClr val="bg1"/>
              </a:solidFill>
            </a:endParaRPr>
          </a:p>
        </p:txBody>
      </p:sp>
      <p:sp>
        <p:nvSpPr>
          <p:cNvPr id="5" name="Content Placeholder 1"/>
          <p:cNvSpPr>
            <a:spLocks noGrp="1"/>
          </p:cNvSpPr>
          <p:nvPr>
            <p:ph sz="quarter" idx="13" hasCustomPrompt="1"/>
          </p:nvPr>
        </p:nvSpPr>
        <p:spPr>
          <a:xfrm>
            <a:off x="336000" y="3216000"/>
            <a:ext cx="3600000" cy="576000"/>
          </a:xfrm>
        </p:spPr>
        <p:txBody>
          <a:bodyPr lIns="72000" tIns="0" rIns="0" bIns="0"/>
          <a:lstStyle>
            <a:lvl1pPr>
              <a:spcAft>
                <a:spcPts val="0"/>
              </a:spcAft>
              <a:defRPr sz="12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/>
              <a:t>Text</a:t>
            </a:r>
          </a:p>
          <a:p>
            <a:pPr lvl="1"/>
            <a:endParaRPr lang="de-DE"/>
          </a:p>
        </p:txBody>
      </p:sp>
      <p:sp>
        <p:nvSpPr>
          <p:cNvPr id="49" name="Contact 1">
            <a:extLst>
              <a:ext uri="{FF2B5EF4-FFF2-40B4-BE49-F238E27FC236}">
                <a16:creationId xmlns:a16="http://schemas.microsoft.com/office/drawing/2014/main" id="{D81604A1-1EFD-4349-A1ED-EC7772B3605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76000" y="2064000"/>
            <a:ext cx="2016000" cy="408000"/>
          </a:xfrm>
        </p:spPr>
        <p:txBody>
          <a:bodyPr wrap="none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1pPr>
          </a:lstStyle>
          <a:p>
            <a:pPr lvl="0"/>
            <a:r>
              <a:rPr lang="de-DE"/>
              <a:t>+00 11 123 456 789</a:t>
            </a:r>
            <a:br>
              <a:rPr lang="de-DE"/>
            </a:br>
            <a:r>
              <a:rPr lang="de-DE"/>
              <a:t>email@munichre.com</a:t>
            </a:r>
          </a:p>
        </p:txBody>
      </p:sp>
      <p:sp>
        <p:nvSpPr>
          <p:cNvPr id="48" name="Name 1">
            <a:extLst>
              <a:ext uri="{FF2B5EF4-FFF2-40B4-BE49-F238E27FC236}">
                <a16:creationId xmlns:a16="http://schemas.microsoft.com/office/drawing/2014/main" id="{930FE81A-9B49-4EEE-8A3E-30B5B3AA2B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76000" y="1656000"/>
            <a:ext cx="2016000" cy="216000"/>
          </a:xfrm>
        </p:spPr>
        <p:txBody>
          <a:bodyPr wrap="none" tIns="72000" rIns="36000" bIns="7200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47" name="Picture Placeholder 1">
            <a:extLst>
              <a:ext uri="{FF2B5EF4-FFF2-40B4-BE49-F238E27FC236}">
                <a16:creationId xmlns:a16="http://schemas.microsoft.com/office/drawing/2014/main" id="{A59E4862-C7D2-4C67-ABA7-5DF9B50A36BB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32000" y="1584000"/>
            <a:ext cx="1200000" cy="1536000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Klicken Sie auf das Icon in der Mitte, um ein Bild einzufügen.</a:t>
            </a:r>
          </a:p>
        </p:txBody>
      </p:sp>
      <p:sp>
        <p:nvSpPr>
          <p:cNvPr id="14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56DB8AA-803C-49D2-90AA-1140CE72DC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4644F9-C4E1-43A3-A849-AE4DF2E8E93F}" type="datetime1">
              <a:rPr lang="de-DE" smtClean="0"/>
              <a:t>13.06.2025</a:t>
            </a:fld>
            <a:endParaRPr lang="de-DE"/>
          </a:p>
        </p:txBody>
      </p:sp>
      <p:sp>
        <p:nvSpPr>
          <p:cNvPr id="15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Fußzeile bearbeiten: Einfügen &gt; Kopf- und Fußzeile (Titel der Präsentation und Name des Redners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20 pt, (Kontakt)</a:t>
            </a:r>
          </a:p>
        </p:txBody>
      </p:sp>
    </p:spTree>
    <p:extLst>
      <p:ext uri="{BB962C8B-B14F-4D97-AF65-F5344CB8AC3E}">
        <p14:creationId xmlns:p14="http://schemas.microsoft.com/office/powerpoint/2010/main" val="1175505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FBAE40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FBAE40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FBAE40"/>
          </p15:clr>
        </p15:guide>
        <p15:guide id="29" orient="horz" pos="1973">
          <p15:clr>
            <a:srgbClr val="FBAE40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6" pos="2030">
          <p15:clr>
            <a:srgbClr val="FBAE40"/>
          </p15:clr>
        </p15:guide>
        <p15:guide id="37" pos="373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rint Mun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E9C47F-3712-41A0-9498-68127ECA954B}" type="datetime1">
              <a:rPr lang="de-DE" smtClean="0"/>
              <a:t>13.06.2025</a:t>
            </a:fld>
            <a:endParaRPr lang="de-DE"/>
          </a:p>
        </p:txBody>
      </p:sp>
      <p:sp>
        <p:nvSpPr>
          <p:cNvPr id="11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56DB8AA-803C-49D2-90AA-1140CE72DC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Fußzeile bearbeiten: Einfügen &gt; Kopf- und Fußzeile (Titel der Präsentation und Name des Redners)</a:t>
            </a:r>
          </a:p>
        </p:txBody>
      </p:sp>
      <p:sp>
        <p:nvSpPr>
          <p:cNvPr id="13" name="Text Box 1"/>
          <p:cNvSpPr txBox="1">
            <a:spLocks/>
          </p:cNvSpPr>
          <p:nvPr/>
        </p:nvSpPr>
        <p:spPr>
          <a:xfrm>
            <a:off x="336000" y="336000"/>
            <a:ext cx="9000000" cy="7680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>
            <a:pPr algn="l" defTabSz="914377" rtl="0" eaLnBrk="1" latinLnBrk="0" hangingPunct="1">
              <a:spcBef>
                <a:spcPct val="0"/>
              </a:spcBef>
              <a:buNone/>
            </a:pPr>
            <a:r>
              <a:rPr lang="de-DE" sz="2667" kern="1200" noProof="0">
                <a:solidFill>
                  <a:schemeClr val="accent1"/>
                </a:solidFill>
              </a:rPr>
              <a:t>Imprint</a:t>
            </a:r>
          </a:p>
        </p:txBody>
      </p:sp>
      <p:sp>
        <p:nvSpPr>
          <p:cNvPr id="8" name="Text Box 3"/>
          <p:cNvSpPr txBox="1">
            <a:spLocks/>
          </p:cNvSpPr>
          <p:nvPr/>
        </p:nvSpPr>
        <p:spPr>
          <a:xfrm>
            <a:off x="336000" y="1872000"/>
            <a:ext cx="11520000" cy="1728000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lvl1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de-DE" sz="1867" b="0" i="0" u="none" strike="noStrike" kern="1200" cap="none" spc="0" normalizeH="0" baseline="0" noProof="0">
                <a:solidFill>
                  <a:schemeClr val="tx2"/>
                </a:solidFill>
              </a:rPr>
              <a:t>Münchener Rückversicherungs-Gesellschaft</a:t>
            </a:r>
            <a:br>
              <a:rPr kumimoji="0" lang="de-DE" sz="1867" b="0" i="0" u="none" strike="noStrike" kern="1200" cap="none" spc="0" normalizeH="0" baseline="0" noProof="0">
                <a:solidFill>
                  <a:schemeClr val="tx2"/>
                </a:solidFill>
              </a:rPr>
            </a:br>
            <a:r>
              <a:rPr kumimoji="0" lang="de-DE" sz="1867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Aktiengesellschaft in München</a:t>
            </a:r>
            <a:br>
              <a:rPr kumimoji="0" lang="de-DE" sz="1867" b="0" i="0" u="none" strike="noStrike" kern="1200" cap="none" spc="0" normalizeH="0" baseline="0" noProof="0">
                <a:solidFill>
                  <a:schemeClr val="tx2"/>
                </a:solidFill>
              </a:rPr>
            </a:br>
            <a:r>
              <a:rPr kumimoji="0" lang="de-DE" sz="1867" b="0" i="0" u="none" strike="noStrike" kern="1200" cap="none" spc="0" normalizeH="0" baseline="0" noProof="0">
                <a:solidFill>
                  <a:schemeClr val="tx2"/>
                </a:solidFill>
              </a:rPr>
              <a:t>Königinstr. 107</a:t>
            </a:r>
            <a:br>
              <a:rPr kumimoji="0" lang="de-DE" sz="1867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de-DE" sz="1867" b="0" i="0" u="none" strike="noStrike" kern="1200" cap="none" spc="0" normalizeH="0" baseline="0" noProof="0">
                <a:solidFill>
                  <a:schemeClr val="tx2"/>
                </a:solidFill>
              </a:rPr>
              <a:t>80802 München</a:t>
            </a:r>
            <a:br>
              <a:rPr kumimoji="0" lang="de-DE" sz="1867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de-DE" sz="1867" b="0" i="0" u="none" strike="noStrike" kern="1200" cap="none" spc="0" normalizeH="0" baseline="0" noProof="0">
                <a:solidFill>
                  <a:schemeClr val="tx2"/>
                </a:solidFill>
              </a:rPr>
              <a:t>Germany</a:t>
            </a:r>
          </a:p>
        </p:txBody>
      </p:sp>
      <p:grpSp>
        <p:nvGrpSpPr>
          <p:cNvPr id="19" name="Group 1"/>
          <p:cNvGrpSpPr/>
          <p:nvPr/>
        </p:nvGrpSpPr>
        <p:grpSpPr>
          <a:xfrm>
            <a:off x="336001" y="3790951"/>
            <a:ext cx="11509697" cy="642644"/>
            <a:chOff x="338038" y="2862001"/>
            <a:chExt cx="8501072" cy="482183"/>
          </a:xfrm>
        </p:grpSpPr>
        <p:sp>
          <p:nvSpPr>
            <p:cNvPr id="20" name="Date"/>
            <p:cNvSpPr txBox="1">
              <a:spLocks/>
            </p:cNvSpPr>
            <p:nvPr/>
          </p:nvSpPr>
          <p:spPr>
            <a:xfrm>
              <a:off x="338038" y="2862001"/>
              <a:ext cx="1491972" cy="482183"/>
            </a:xfrm>
            <a:prstGeom prst="rect">
              <a:avLst/>
            </a:prstGeom>
            <a:noFill/>
          </p:spPr>
          <p:txBody>
            <a:bodyPr vert="horz" lIns="0" tIns="0" rIns="36000" bIns="0" rtlCol="0" anchor="ctr">
              <a:noAutofit/>
            </a:bodyPr>
            <a:lstStyle/>
            <a:p>
              <a:pPr algn="l">
                <a:spcBef>
                  <a:spcPts val="533"/>
                </a:spcBef>
              </a:pPr>
              <a:r>
                <a:rPr lang="de-DE" sz="1867" i="0" spc="0" baseline="0">
                  <a:solidFill>
                    <a:schemeClr val="tx2"/>
                  </a:solidFill>
                </a:rPr>
                <a:t>© </a:t>
              </a:r>
              <a:fld id="{A3C02936-56EB-4811-9318-C73FF2F154D5}" type="datetimeyyyy">
                <a:rPr lang="de-DE" sz="1867" i="0" spc="0" baseline="0" smtClean="0">
                  <a:solidFill>
                    <a:schemeClr val="tx2"/>
                  </a:solidFill>
                </a:rPr>
                <a:pPr algn="l">
                  <a:spcBef>
                    <a:spcPts val="533"/>
                  </a:spcBef>
                </a:pPr>
                <a:t>2025</a:t>
              </a:fld>
              <a:endParaRPr kumimoji="0" lang="de-DE" sz="1867" b="0" i="0" u="none" strike="noStrike" kern="1200" cap="none" spc="0" normalizeH="0" baseline="0" noProof="0">
                <a:solidFill>
                  <a:schemeClr val="tx2"/>
                </a:solidFill>
              </a:endParaRPr>
            </a:p>
            <a:p>
              <a:pPr algn="l">
                <a:spcBef>
                  <a:spcPts val="533"/>
                </a:spcBef>
              </a:pPr>
              <a:r>
                <a:rPr lang="de-DE" sz="1867" i="0" spc="0" baseline="0">
                  <a:solidFill>
                    <a:schemeClr val="tx2"/>
                  </a:solidFill>
                </a:rPr>
                <a:t>© </a:t>
              </a:r>
              <a:fld id="{19F4CD60-3F6E-4CD4-AF04-3B713259ED7A}" type="datetimeyyyy">
                <a:rPr lang="de-DE" sz="1867" i="0" spc="0" baseline="0" smtClean="0">
                  <a:solidFill>
                    <a:schemeClr val="tx2"/>
                  </a:solidFill>
                </a:rPr>
                <a:pPr algn="l">
                  <a:spcBef>
                    <a:spcPts val="533"/>
                  </a:spcBef>
                </a:pPr>
                <a:t>2025</a:t>
              </a:fld>
              <a:endParaRPr lang="de-DE" sz="1867" spc="0" baseline="0">
                <a:solidFill>
                  <a:schemeClr val="tx2"/>
                </a:solidFill>
              </a:endParaRPr>
            </a:p>
          </p:txBody>
        </p:sp>
        <p:sp>
          <p:nvSpPr>
            <p:cNvPr id="21" name="Text Box 4"/>
            <p:cNvSpPr txBox="1"/>
            <p:nvPr/>
          </p:nvSpPr>
          <p:spPr>
            <a:xfrm>
              <a:off x="911017" y="2862002"/>
              <a:ext cx="7928093" cy="479272"/>
            </a:xfrm>
            <a:prstGeom prst="rect">
              <a:avLst/>
            </a:prstGeom>
            <a:effectLst/>
          </p:spPr>
          <p:txBody>
            <a:bodyPr wrap="square" lIns="0" tIns="0" rIns="0" bIns="0" rtlCol="0">
              <a:spAutoFit/>
            </a:bodyPr>
            <a:lstStyle/>
            <a:p>
              <a:pPr algn="l">
                <a:spcBef>
                  <a:spcPts val="533"/>
                </a:spcBef>
              </a:pPr>
              <a:r>
                <a:rPr kumimoji="0" lang="de-DE" sz="1867" b="0" i="0" u="none" strike="noStrike" kern="1200" cap="none" spc="0" normalizeH="0" baseline="0" noProof="0">
                  <a:solidFill>
                    <a:schemeClr val="tx2"/>
                  </a:solidFill>
                </a:rPr>
                <a:t> </a:t>
              </a:r>
              <a:r>
                <a:rPr kumimoji="0" lang="de-DE" sz="1867" b="0" i="0" u="none" strike="noStrike" kern="1200" cap="none" spc="0" normalizeH="0" baseline="0" noProof="0" err="1">
                  <a:solidFill>
                    <a:schemeClr val="tx2"/>
                  </a:solidFill>
                </a:rPr>
                <a:t>Münchener Rückversicherungs-Gesellschaft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5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867" b="0" i="0" u="none" strike="noStrike" kern="1200" cap="none" spc="0" normalizeH="0" baseline="0" noProof="0">
                  <a:solidFill>
                    <a:schemeClr val="tx2"/>
                  </a:solidFill>
                </a:rPr>
                <a:t> Munich Reinsurance Compan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0579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EEF1D7-816F-4E12-B35C-7C98B2F1C5FB}" type="datetime1">
              <a:rPr lang="de-DE" smtClean="0"/>
              <a:t>13.06.2025</a:t>
            </a:fld>
            <a:endParaRPr lang="de-DE"/>
          </a:p>
        </p:txBody>
      </p:sp>
      <p:sp>
        <p:nvSpPr>
          <p:cNvPr id="11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56DB8AA-803C-49D2-90AA-1140CE72DC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Fußzeile bearbeiten: Einfügen &gt; Kopf- und Fußzeile (Titel der Präsentation und Name des Redners)</a:t>
            </a:r>
          </a:p>
        </p:txBody>
      </p:sp>
      <p:sp>
        <p:nvSpPr>
          <p:cNvPr id="13" name="Text Box Title 1"/>
          <p:cNvSpPr txBox="1">
            <a:spLocks/>
          </p:cNvSpPr>
          <p:nvPr/>
        </p:nvSpPr>
        <p:spPr>
          <a:xfrm>
            <a:off x="336000" y="336001"/>
            <a:ext cx="9000000" cy="768900"/>
          </a:xfrm>
          <a:prstGeom prst="rect">
            <a:avLst/>
          </a:prstGeom>
          <a:noFill/>
          <a:effectLst/>
        </p:spPr>
        <p:txBody>
          <a:bodyPr wrap="none" lIns="0" tIns="0" rIns="0" bIns="0" rtlCol="0"/>
          <a:lstStyle/>
          <a:p>
            <a:pPr algn="l" defTabSz="914377" rtl="0" eaLnBrk="1" latinLnBrk="0" hangingPunct="1">
              <a:spcBef>
                <a:spcPct val="0"/>
              </a:spcBef>
              <a:buNone/>
            </a:pPr>
            <a:r>
              <a:rPr lang="de-DE" sz="2667" kern="1200" noProof="0">
                <a:solidFill>
                  <a:schemeClr val="accent1"/>
                </a:solidFill>
              </a:rPr>
              <a:t>Imprin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36000" y="1872000"/>
            <a:ext cx="11520000" cy="172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lvl="0"/>
            <a:r>
              <a:rPr lang="de-DE" noProof="0"/>
              <a:t>Bitte tragen Sie hier die Angaben zur Juristischen Person ein.</a:t>
            </a:r>
          </a:p>
          <a:p>
            <a:endParaRPr lang="de-DE"/>
          </a:p>
        </p:txBody>
      </p:sp>
      <p:sp>
        <p:nvSpPr>
          <p:cNvPr id="20" name="Date"/>
          <p:cNvSpPr txBox="1">
            <a:spLocks/>
          </p:cNvSpPr>
          <p:nvPr/>
        </p:nvSpPr>
        <p:spPr>
          <a:xfrm>
            <a:off x="336053" y="3792001"/>
            <a:ext cx="2021823" cy="642644"/>
          </a:xfrm>
          <a:prstGeom prst="rect">
            <a:avLst/>
          </a:prstGeom>
          <a:noFill/>
        </p:spPr>
        <p:txBody>
          <a:bodyPr vert="horz" lIns="0" tIns="0" rIns="48000" bIns="0" rtlCol="0" anchor="ctr">
            <a:noAutofit/>
          </a:bodyPr>
          <a:lstStyle/>
          <a:p>
            <a:pPr algn="l">
              <a:spcBef>
                <a:spcPts val="533"/>
              </a:spcBef>
            </a:pPr>
            <a:r>
              <a:rPr lang="de-DE" sz="1867" i="0" spc="0" baseline="0">
                <a:solidFill>
                  <a:schemeClr val="tx2"/>
                </a:solidFill>
              </a:rPr>
              <a:t>© </a:t>
            </a:r>
            <a:fld id="{14D338FD-C43E-499C-81A9-A4CE75F809AC}" type="datetimeyyyy">
              <a:rPr lang="de-DE" sz="1867" i="0" spc="0" baseline="0" smtClean="0">
                <a:solidFill>
                  <a:schemeClr val="tx2"/>
                </a:solidFill>
              </a:rPr>
              <a:pPr algn="l">
                <a:spcBef>
                  <a:spcPts val="533"/>
                </a:spcBef>
              </a:pPr>
              <a:t>2025</a:t>
            </a:fld>
            <a:endParaRPr lang="de-DE" sz="1867" i="0" spc="0" baseline="0">
              <a:solidFill>
                <a:schemeClr val="tx2"/>
              </a:solidFill>
            </a:endParaRPr>
          </a:p>
          <a:p>
            <a:pPr algn="l">
              <a:spcBef>
                <a:spcPts val="533"/>
              </a:spcBef>
            </a:pPr>
            <a:r>
              <a:rPr lang="de-DE" sz="1867" i="0" spc="0" baseline="0">
                <a:solidFill>
                  <a:schemeClr val="tx2"/>
                </a:solidFill>
              </a:rPr>
              <a:t>© </a:t>
            </a:r>
            <a:fld id="{FA804410-6E04-4085-9F82-931EB239A6DF}" type="datetimeyyyy">
              <a:rPr lang="de-DE" sz="1867" i="0" spc="0" baseline="0" smtClean="0">
                <a:solidFill>
                  <a:schemeClr val="tx2"/>
                </a:solidFill>
              </a:rPr>
              <a:pPr algn="l">
                <a:spcBef>
                  <a:spcPts val="533"/>
                </a:spcBef>
              </a:pPr>
              <a:t>2025</a:t>
            </a:fld>
            <a:endParaRPr lang="de-DE" sz="1867" spc="0" baseline="0">
              <a:solidFill>
                <a:schemeClr val="tx2"/>
              </a:solidFill>
            </a:endParaRPr>
          </a:p>
        </p:txBody>
      </p:sp>
      <p:sp>
        <p:nvSpPr>
          <p:cNvPr id="21" name="Text Box 2"/>
          <p:cNvSpPr txBox="1"/>
          <p:nvPr/>
        </p:nvSpPr>
        <p:spPr>
          <a:xfrm>
            <a:off x="1112515" y="3792003"/>
            <a:ext cx="11156803" cy="638765"/>
          </a:xfrm>
          <a:prstGeom prst="rect">
            <a:avLst/>
          </a:prstGeom>
          <a:effectLst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533"/>
              </a:spcBef>
            </a:pPr>
            <a:r>
              <a:rPr kumimoji="0" lang="de-DE" sz="1867" b="0" i="0" u="none" strike="noStrike" kern="1200" cap="none" spc="0" normalizeH="0" baseline="0" noProof="0">
                <a:solidFill>
                  <a:schemeClr val="tx2"/>
                </a:solidFill>
              </a:rPr>
              <a:t> </a:t>
            </a:r>
            <a:r>
              <a:rPr kumimoji="0" lang="de-DE" sz="1867" b="0" i="0" u="none" strike="noStrike" kern="1200" cap="none" spc="0" normalizeH="0" baseline="0" noProof="0" err="1">
                <a:solidFill>
                  <a:schemeClr val="tx2"/>
                </a:solidFill>
              </a:rPr>
              <a:t>Münchener Rückversicherungs-Gesellschaft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67" b="0" i="0" u="none" strike="noStrike" kern="1200" cap="none" spc="0" normalizeH="0" baseline="0" noProof="0">
                <a:solidFill>
                  <a:schemeClr val="tx2"/>
                </a:solidFill>
              </a:rPr>
              <a:t> Munich Reinsurance Company</a:t>
            </a:r>
          </a:p>
        </p:txBody>
      </p:sp>
    </p:spTree>
    <p:extLst>
      <p:ext uri="{BB962C8B-B14F-4D97-AF65-F5344CB8AC3E}">
        <p14:creationId xmlns:p14="http://schemas.microsoft.com/office/powerpoint/2010/main" val="2249332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FBAE40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7" orient="horz" pos="170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C2DDD8F-8EDF-4746-BF1B-C1D285F122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50234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1" imgH="470" progId="TCLayout.ActiveDocument.1">
                  <p:embed/>
                </p:oleObj>
              </mc:Choice>
              <mc:Fallback>
                <p:oleObj name="think-cell Folie" r:id="rId4" imgW="471" imgH="47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C2DDD8F-8EDF-4746-BF1B-C1D285F122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48843E24-9180-40A1-BCFF-43AF5D6C743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333" b="0" i="0" baseline="0">
              <a:solidFill>
                <a:schemeClr val="bg1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0" y="1434000"/>
            <a:ext cx="12192000" cy="5424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16000" y="5616000"/>
            <a:ext cx="10560000" cy="432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2933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2933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FontTx/>
              <a:buNone/>
              <a:defRPr sz="2933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FontTx/>
              <a:buNone/>
              <a:defRPr sz="2933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FontTx/>
              <a:buNone/>
              <a:defRPr sz="2933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Tx/>
              <a:buNone/>
              <a:defRPr sz="2933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Tx/>
              <a:buNone/>
              <a:defRPr sz="2933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Tx/>
              <a:buNone/>
              <a:defRPr sz="2933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Tx/>
              <a:buNone/>
              <a:defRPr sz="2933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Author, two lines max.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816000" y="2015999"/>
            <a:ext cx="10560000" cy="3192348"/>
          </a:xfrm>
        </p:spPr>
        <p:txBody>
          <a:bodyPr anchor="b" anchorCtr="0">
            <a:noAutofit/>
          </a:bodyPr>
          <a:lstStyle>
            <a:lvl1pPr>
              <a:defRPr sz="5333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Separating slide 40 pt, with multi-line quotation</a:t>
            </a:r>
          </a:p>
        </p:txBody>
      </p:sp>
    </p:spTree>
    <p:extLst>
      <p:ext uri="{BB962C8B-B14F-4D97-AF65-F5344CB8AC3E}">
        <p14:creationId xmlns:p14="http://schemas.microsoft.com/office/powerpoint/2010/main" val="2802951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">
          <p15:clr>
            <a:srgbClr val="FBAE40"/>
          </p15:clr>
        </p15:guide>
        <p15:guide id="2" pos="537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64000"/>
          </a:xfrm>
          <a:solidFill>
            <a:schemeClr val="accent1"/>
          </a:solidFill>
        </p:spPr>
        <p:txBody>
          <a:bodyPr lIns="540000" tIns="792000" rIns="540000" anchor="t" anchorCtr="1"/>
          <a:lstStyle>
            <a:lvl1pPr marL="0" marR="0" indent="0" algn="l" defTabSz="35999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itchFamily="2" charset="2"/>
              <a:buNone/>
              <a:tabLst/>
              <a:defRPr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35999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de-DE"/>
              <a:t>Klicken Sie auf das Icon in der Mitte, um ein Titelbild einzufügen.</a:t>
            </a:r>
            <a:br>
              <a:rPr lang="de-DE"/>
            </a:br>
            <a:r>
              <a:rPr lang="de-DE"/>
              <a:t>Anstatt eines Bildes kann auch eine Farbe ausgewählt werden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6000" y="336000"/>
            <a:ext cx="5304000" cy="1536000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24 pt,</a:t>
            </a:r>
            <a:br>
              <a:rPr lang="de-DE"/>
            </a:br>
            <a:r>
              <a:rPr lang="de-DE"/>
              <a:t>max. dreizeilig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336000" y="2256000"/>
            <a:ext cx="5304000" cy="768000"/>
          </a:xfrm>
        </p:spPr>
        <p:txBody>
          <a:bodyPr anchor="t" anchorCtr="0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atum: TT.MM.JJJ</a:t>
            </a:r>
            <a:br>
              <a:rPr lang="de-DE"/>
            </a:br>
            <a:r>
              <a:rPr lang="de-DE"/>
              <a:t>Name des Redners</a:t>
            </a:r>
          </a:p>
        </p:txBody>
      </p:sp>
      <p:sp>
        <p:nvSpPr>
          <p:cNvPr id="7" name="Source 1"/>
          <p:cNvSpPr>
            <a:spLocks noGrp="1"/>
          </p:cNvSpPr>
          <p:nvPr>
            <p:ph type="body" sz="quarter" idx="12" hasCustomPrompt="1"/>
          </p:nvPr>
        </p:nvSpPr>
        <p:spPr>
          <a:xfrm>
            <a:off x="9024000" y="6570000"/>
            <a:ext cx="3168000" cy="288000"/>
          </a:xfrm>
        </p:spPr>
        <p:txBody>
          <a:bodyPr wrap="none" tIns="72000" rIns="108000" bIns="7200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Quelle: Bitte Bildquelle angeben / Name des Fotografen</a:t>
            </a:r>
          </a:p>
        </p:txBody>
      </p:sp>
      <p:pic>
        <p:nvPicPr>
          <p:cNvPr id="8" name="MR Logo white 1">
            <a:extLst>
              <a:ext uri="{FF2B5EF4-FFF2-40B4-BE49-F238E27FC236}">
                <a16:creationId xmlns:a16="http://schemas.microsoft.com/office/drawing/2014/main" id="{3A9B66DC-D004-0518-1CEF-6C473D92AADE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4000" y="5928000"/>
            <a:ext cx="2016000" cy="4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637788"/>
      </p:ext>
    </p:extLst>
  </p:cSld>
  <p:clrMapOvr>
    <a:masterClrMapping/>
  </p:clrMapOvr>
  <p:transition spd="slow">
    <p:fade thruBlk="1"/>
  </p:transition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665">
          <p15:clr>
            <a:srgbClr val="5ACBF0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A4A3A4"/>
          </p15:clr>
        </p15:guide>
        <p15:guide id="23" orient="horz" pos="884">
          <p15:clr>
            <a:srgbClr val="FBAE40"/>
          </p15:clr>
        </p15:guide>
        <p15:guide id="24" orient="horz" pos="1066">
          <p15:clr>
            <a:srgbClr val="FBAE40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FBAE40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64000"/>
          </a:xfrm>
          <a:solidFill>
            <a:schemeClr val="accent1"/>
          </a:solidFill>
        </p:spPr>
        <p:txBody>
          <a:bodyPr lIns="540000" tIns="792000" rIns="540000" anchor="t" anchorCtr="1"/>
          <a:lstStyle>
            <a:lvl1pPr marL="0" marR="0" indent="0" algn="l" defTabSz="35999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itchFamily="2" charset="2"/>
              <a:buNone/>
              <a:tabLst/>
              <a:defRPr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35999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de-DE"/>
              <a:t>Klicken Sie auf das Icon in der Mitte, um ein Titelbild einzufügen.</a:t>
            </a:r>
            <a:br>
              <a:rPr lang="de-DE"/>
            </a:br>
            <a:r>
              <a:rPr lang="de-DE"/>
              <a:t>Anstatt eines Bildes kann auch eine Farbe ausgewählt werden.</a:t>
            </a:r>
          </a:p>
        </p:txBody>
      </p:sp>
      <p:pic>
        <p:nvPicPr>
          <p:cNvPr id="13" name="MR Logo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4000" y="5928000"/>
            <a:ext cx="2016000" cy="465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6000" y="336000"/>
            <a:ext cx="5304000" cy="1536000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3200" baseline="0"/>
            </a:lvl1pPr>
          </a:lstStyle>
          <a:p>
            <a:r>
              <a:rPr lang="de-DE"/>
              <a:t>Titel 24 pt,</a:t>
            </a:r>
            <a:br>
              <a:rPr lang="de-DE"/>
            </a:br>
            <a:r>
              <a:rPr lang="de-DE"/>
              <a:t>max. dreizeilig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336000" y="2256000"/>
            <a:ext cx="5304000" cy="768000"/>
          </a:xfrm>
        </p:spPr>
        <p:txBody>
          <a:bodyPr anchor="t" anchorCtr="0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lvl1pPr>
          </a:lstStyle>
          <a:p>
            <a:r>
              <a:rPr lang="de-DE"/>
              <a:t>Datum: TT.MM.JJJ</a:t>
            </a:r>
            <a:br>
              <a:rPr lang="de-DE"/>
            </a:br>
            <a:r>
              <a:rPr lang="de-DE"/>
              <a:t>Name des Redners</a:t>
            </a:r>
          </a:p>
        </p:txBody>
      </p:sp>
      <p:sp>
        <p:nvSpPr>
          <p:cNvPr id="7" name="Source 1"/>
          <p:cNvSpPr>
            <a:spLocks noGrp="1"/>
          </p:cNvSpPr>
          <p:nvPr>
            <p:ph type="body" sz="quarter" idx="12" hasCustomPrompt="1"/>
          </p:nvPr>
        </p:nvSpPr>
        <p:spPr>
          <a:xfrm>
            <a:off x="9024000" y="6570000"/>
            <a:ext cx="3168000" cy="288000"/>
          </a:xfrm>
        </p:spPr>
        <p:txBody>
          <a:bodyPr wrap="none" tIns="72000" rIns="108000" bIns="7200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Quelle: Bitte Bildquelle angeben / Name des Fotografen</a:t>
            </a:r>
          </a:p>
        </p:txBody>
      </p:sp>
    </p:spTree>
    <p:extLst>
      <p:ext uri="{BB962C8B-B14F-4D97-AF65-F5344CB8AC3E}">
        <p14:creationId xmlns:p14="http://schemas.microsoft.com/office/powerpoint/2010/main" val="265221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665">
          <p15:clr>
            <a:srgbClr val="5ACBF0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A4A3A4"/>
          </p15:clr>
        </p15:guide>
        <p15:guide id="23" orient="horz" pos="884">
          <p15:clr>
            <a:srgbClr val="FBAE40"/>
          </p15:clr>
        </p15:guide>
        <p15:guide id="24" orient="horz" pos="1066">
          <p15:clr>
            <a:srgbClr val="FBAE40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FBAE40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Multibrandin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64000"/>
          </a:xfrm>
          <a:solidFill>
            <a:schemeClr val="accent1"/>
          </a:solidFill>
        </p:spPr>
        <p:txBody>
          <a:bodyPr lIns="540000" tIns="792000" rIns="540000" anchor="t" anchorCtr="1"/>
          <a:lstStyle>
            <a:lvl1pPr marL="0" marR="0" indent="0" algn="l" defTabSz="35999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itchFamily="2" charset="2"/>
              <a:buNone/>
              <a:tabLst/>
              <a:defRPr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35999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de-DE"/>
              <a:t>Klicken Sie auf das Icon in der Mitte, um ein Titelbild einzufügen.</a:t>
            </a:r>
            <a:br>
              <a:rPr lang="de-DE"/>
            </a:br>
            <a:r>
              <a:rPr lang="de-DE"/>
              <a:t>Anstatt eines Bildes kann auch eine Farbe ausgewählt werden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6000" y="336000"/>
            <a:ext cx="5304000" cy="1536000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24 pt,</a:t>
            </a:r>
            <a:br>
              <a:rPr lang="de-DE"/>
            </a:br>
            <a:r>
              <a:rPr lang="de-DE"/>
              <a:t>max. dreizeilig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336000" y="2256000"/>
            <a:ext cx="5304000" cy="768000"/>
          </a:xfrm>
        </p:spPr>
        <p:txBody>
          <a:bodyPr anchor="t" anchorCtr="0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atum: TT.MM.JJJ</a:t>
            </a:r>
            <a:br>
              <a:rPr lang="de-DE"/>
            </a:br>
            <a:r>
              <a:rPr lang="de-DE"/>
              <a:t>Name des Redners</a:t>
            </a:r>
          </a:p>
        </p:txBody>
      </p:sp>
      <p:sp>
        <p:nvSpPr>
          <p:cNvPr id="7" name="Source 1"/>
          <p:cNvSpPr>
            <a:spLocks noGrp="1"/>
          </p:cNvSpPr>
          <p:nvPr>
            <p:ph type="body" sz="quarter" idx="12" hasCustomPrompt="1"/>
          </p:nvPr>
        </p:nvSpPr>
        <p:spPr>
          <a:xfrm>
            <a:off x="9024000" y="6570000"/>
            <a:ext cx="3168000" cy="288000"/>
          </a:xfrm>
        </p:spPr>
        <p:txBody>
          <a:bodyPr wrap="none" tIns="72000" rIns="108000" bIns="7200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Quelle: Bitte Bildquelle angeben / Name des Fotografen</a:t>
            </a:r>
          </a:p>
        </p:txBody>
      </p:sp>
      <p:sp>
        <p:nvSpPr>
          <p:cNvPr id="8" name="Logo Placeholder 2">
            <a:extLst>
              <a:ext uri="{FF2B5EF4-FFF2-40B4-BE49-F238E27FC236}">
                <a16:creationId xmlns:a16="http://schemas.microsoft.com/office/drawing/2014/main" id="{8B8EF8EC-DF54-60DA-4293-16497FC2645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3624000" y="4996800"/>
            <a:ext cx="2016000" cy="465600"/>
          </a:xfrm>
          <a:noFill/>
        </p:spPr>
        <p:txBody>
          <a:bodyPr/>
          <a:lstStyle>
            <a:lvl1pPr marL="0" indent="0" algn="r">
              <a:buNone/>
              <a:defRPr sz="933">
                <a:solidFill>
                  <a:schemeClr val="bg1"/>
                </a:solidFill>
              </a:defRPr>
            </a:lvl1pPr>
          </a:lstStyle>
          <a:p>
            <a:r>
              <a:rPr lang="de-DE"/>
              <a:t>Maximale Größe für ein zusätzliches Logo. Bitte rechtbündig ausrichten und gleichgroß platzieren.</a:t>
            </a:r>
          </a:p>
        </p:txBody>
      </p:sp>
      <p:sp>
        <p:nvSpPr>
          <p:cNvPr id="10" name="Logo Placeholder 3">
            <a:extLst>
              <a:ext uri="{FF2B5EF4-FFF2-40B4-BE49-F238E27FC236}">
                <a16:creationId xmlns:a16="http://schemas.microsoft.com/office/drawing/2014/main" id="{F9D3F64F-D47E-247C-C64F-C338B2C8B16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3624000" y="4065600"/>
            <a:ext cx="2016000" cy="465600"/>
          </a:xfrm>
        </p:spPr>
        <p:txBody>
          <a:bodyPr/>
          <a:lstStyle>
            <a:lvl1pPr marL="0" indent="0" algn="r">
              <a:buNone/>
              <a:defRPr sz="933">
                <a:solidFill>
                  <a:schemeClr val="bg1"/>
                </a:solidFill>
              </a:defRPr>
            </a:lvl1pPr>
          </a:lstStyle>
          <a:p>
            <a:r>
              <a:rPr lang="de-DE"/>
              <a:t>Maximale Größe für ein zusätzliches Logo. Bitte rechtbündig ausrichten und gleichgroß platzieren.</a:t>
            </a:r>
          </a:p>
        </p:txBody>
      </p:sp>
      <p:pic>
        <p:nvPicPr>
          <p:cNvPr id="11" name="MR Logo white 1">
            <a:extLst>
              <a:ext uri="{FF2B5EF4-FFF2-40B4-BE49-F238E27FC236}">
                <a16:creationId xmlns:a16="http://schemas.microsoft.com/office/drawing/2014/main" id="{A30665A9-A7DF-D435-7F6D-6F96D6BE140E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4000" y="5928000"/>
            <a:ext cx="2016000" cy="4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399501"/>
      </p:ext>
    </p:extLst>
  </p:cSld>
  <p:clrMapOvr>
    <a:masterClrMapping/>
  </p:clrMapOvr>
  <p:transition spd="slow">
    <p:fade thruBlk="1"/>
  </p:transition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10" pos="2880">
          <p15:clr>
            <a:srgbClr val="FBAE40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3" orient="horz" pos="884">
          <p15:clr>
            <a:srgbClr val="FBAE40"/>
          </p15:clr>
        </p15:guide>
        <p15:guide id="24" orient="horz" pos="1066">
          <p15:clr>
            <a:srgbClr val="FBAE40"/>
          </p15:clr>
        </p15:guide>
        <p15:guide id="26" orient="horz" pos="1429">
          <p15:clr>
            <a:srgbClr val="FBAE40"/>
          </p15:clr>
        </p15:guide>
        <p15:guide id="35" orient="horz" pos="3061">
          <p15:clr>
            <a:srgbClr val="F26B43"/>
          </p15:clr>
        </p15:guide>
        <p15:guide id="38" pos="2665">
          <p15:clr>
            <a:srgbClr val="5ACBF0"/>
          </p15:clr>
        </p15:guide>
        <p15:guide id="39" pos="1712">
          <p15:clr>
            <a:srgbClr val="5ACBF0"/>
          </p15:clr>
        </p15:guide>
        <p15:guide id="40" pos="2005">
          <p15:clr>
            <a:srgbClr val="5ACBF0"/>
          </p15:clr>
        </p15:guide>
        <p15:guide id="41" orient="horz" pos="1921">
          <p15:clr>
            <a:srgbClr val="5ACBF0"/>
          </p15:clr>
        </p15:guide>
        <p15:guide id="42" orient="horz" pos="2141">
          <p15:clr>
            <a:srgbClr val="5ACBF0"/>
          </p15:clr>
        </p15:guide>
        <p15:guide id="43" orient="horz" pos="2361">
          <p15:clr>
            <a:srgbClr val="5ACBF0"/>
          </p15:clr>
        </p15:guide>
        <p15:guide id="44" orient="horz" pos="2581">
          <p15:clr>
            <a:srgbClr val="5ACBF0"/>
          </p15:clr>
        </p15:guide>
        <p15:guide id="45" orient="horz" pos="2801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Multi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64000"/>
          </a:xfrm>
          <a:solidFill>
            <a:schemeClr val="accent1"/>
          </a:solidFill>
        </p:spPr>
        <p:txBody>
          <a:bodyPr lIns="540000" tIns="792000" rIns="540000" anchor="t" anchorCtr="1"/>
          <a:lstStyle>
            <a:lvl1pPr marL="0" marR="0" indent="0" algn="l" defTabSz="35999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itchFamily="2" charset="2"/>
              <a:buNone/>
              <a:tabLst/>
              <a:defRPr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35999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de-DE"/>
              <a:t>Klicken Sie auf das Icon in der Mitte, um ein Titelbild einzufügen.</a:t>
            </a:r>
            <a:br>
              <a:rPr lang="de-DE"/>
            </a:br>
            <a:r>
              <a:rPr lang="de-DE"/>
              <a:t>Anstatt eines Bildes kann auch eine Farbe ausgewählt werden.</a:t>
            </a:r>
          </a:p>
        </p:txBody>
      </p:sp>
      <p:pic>
        <p:nvPicPr>
          <p:cNvPr id="13" name="MR Logo 2"/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4000" y="5928000"/>
            <a:ext cx="2016000" cy="465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6000" y="336000"/>
            <a:ext cx="5304000" cy="1536000"/>
          </a:xfrm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3200" baseline="0"/>
            </a:lvl1pPr>
          </a:lstStyle>
          <a:p>
            <a:r>
              <a:rPr lang="de-DE"/>
              <a:t>Titel 24 pt,</a:t>
            </a:r>
            <a:br>
              <a:rPr lang="de-DE"/>
            </a:br>
            <a:r>
              <a:rPr lang="de-DE"/>
              <a:t>max. dreizeilig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336000" y="2256000"/>
            <a:ext cx="5304000" cy="768000"/>
          </a:xfrm>
        </p:spPr>
        <p:txBody>
          <a:bodyPr anchor="t" anchorCtr="0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lvl1pPr>
          </a:lstStyle>
          <a:p>
            <a:r>
              <a:rPr lang="de-DE"/>
              <a:t>Datum: TT.MM.JJJ</a:t>
            </a:r>
            <a:br>
              <a:rPr lang="de-DE"/>
            </a:br>
            <a:r>
              <a:rPr lang="de-DE"/>
              <a:t>Name des Redners</a:t>
            </a:r>
          </a:p>
        </p:txBody>
      </p:sp>
      <p:sp>
        <p:nvSpPr>
          <p:cNvPr id="7" name="Source 1"/>
          <p:cNvSpPr>
            <a:spLocks noGrp="1"/>
          </p:cNvSpPr>
          <p:nvPr>
            <p:ph type="body" sz="quarter" idx="12" hasCustomPrompt="1"/>
          </p:nvPr>
        </p:nvSpPr>
        <p:spPr>
          <a:xfrm>
            <a:off x="9024000" y="6570000"/>
            <a:ext cx="3168000" cy="288000"/>
          </a:xfrm>
        </p:spPr>
        <p:txBody>
          <a:bodyPr wrap="none" tIns="72000" rIns="108000" bIns="7200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Quelle: Bitte Bildquelle angeben / Name des Fotografen</a:t>
            </a:r>
          </a:p>
        </p:txBody>
      </p:sp>
      <p:sp>
        <p:nvSpPr>
          <p:cNvPr id="5" name="Logo Placeholder 2">
            <a:extLst>
              <a:ext uri="{FF2B5EF4-FFF2-40B4-BE49-F238E27FC236}">
                <a16:creationId xmlns:a16="http://schemas.microsoft.com/office/drawing/2014/main" id="{2165B20C-A182-5BDD-926C-2DA793ADFA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3624000" y="4996800"/>
            <a:ext cx="2016000" cy="465600"/>
          </a:xfrm>
          <a:noFill/>
        </p:spPr>
        <p:txBody>
          <a:bodyPr/>
          <a:lstStyle>
            <a:lvl1pPr marL="0" indent="0" algn="r">
              <a:buNone/>
              <a:defRPr sz="933"/>
            </a:lvl1pPr>
          </a:lstStyle>
          <a:p>
            <a:r>
              <a:rPr lang="de-DE"/>
              <a:t>Maximale Größe für ein zusätzliches Logo. Bitte rechtbündig ausrichten und gleichgroß platzieren.</a:t>
            </a:r>
          </a:p>
        </p:txBody>
      </p:sp>
      <p:sp>
        <p:nvSpPr>
          <p:cNvPr id="10" name="Logo Placeholder 3">
            <a:extLst>
              <a:ext uri="{FF2B5EF4-FFF2-40B4-BE49-F238E27FC236}">
                <a16:creationId xmlns:a16="http://schemas.microsoft.com/office/drawing/2014/main" id="{3CB1A6B3-BDED-7F3A-4D56-2195B241E7A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3624000" y="4065600"/>
            <a:ext cx="2016000" cy="465600"/>
          </a:xfrm>
        </p:spPr>
        <p:txBody>
          <a:bodyPr/>
          <a:lstStyle>
            <a:lvl1pPr marL="0" indent="0" algn="r">
              <a:buNone/>
              <a:defRPr sz="933"/>
            </a:lvl1pPr>
          </a:lstStyle>
          <a:p>
            <a:r>
              <a:rPr lang="de-DE"/>
              <a:t>Maximale Größe für ein zusätzliches Logo. Bitte rechtbündig ausrichten und gleichgroß platzieren.</a:t>
            </a:r>
          </a:p>
        </p:txBody>
      </p:sp>
    </p:spTree>
    <p:extLst>
      <p:ext uri="{BB962C8B-B14F-4D97-AF65-F5344CB8AC3E}">
        <p14:creationId xmlns:p14="http://schemas.microsoft.com/office/powerpoint/2010/main" val="3409190737"/>
      </p:ext>
    </p:extLst>
  </p:cSld>
  <p:clrMapOvr>
    <a:masterClrMapping/>
  </p:clrMapOvr>
  <p:transition spd="slow">
    <p:fade thruBlk="1"/>
  </p:transition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10" pos="2880">
          <p15:clr>
            <a:srgbClr val="FBAE40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3" orient="horz" pos="884">
          <p15:clr>
            <a:srgbClr val="FBAE40"/>
          </p15:clr>
        </p15:guide>
        <p15:guide id="24" orient="horz" pos="1066">
          <p15:clr>
            <a:srgbClr val="FBAE40"/>
          </p15:clr>
        </p15:guide>
        <p15:guide id="26" orient="horz" pos="1429">
          <p15:clr>
            <a:srgbClr val="FBAE40"/>
          </p15:clr>
        </p15:guide>
        <p15:guide id="35" orient="horz" pos="3061">
          <p15:clr>
            <a:srgbClr val="F26B43"/>
          </p15:clr>
        </p15:guide>
        <p15:guide id="38" pos="2665">
          <p15:clr>
            <a:srgbClr val="5ACBF0"/>
          </p15:clr>
        </p15:guide>
        <p15:guide id="39" pos="1712">
          <p15:clr>
            <a:srgbClr val="5ACBF0"/>
          </p15:clr>
        </p15:guide>
        <p15:guide id="40" pos="2005">
          <p15:clr>
            <a:srgbClr val="5ACBF0"/>
          </p15:clr>
        </p15:guide>
        <p15:guide id="41" orient="horz" pos="1921">
          <p15:clr>
            <a:srgbClr val="5ACBF0"/>
          </p15:clr>
        </p15:guide>
        <p15:guide id="42" orient="horz" pos="2141">
          <p15:clr>
            <a:srgbClr val="5ACBF0"/>
          </p15:clr>
        </p15:guide>
        <p15:guide id="43" orient="horz" pos="2361">
          <p15:clr>
            <a:srgbClr val="5ACBF0"/>
          </p15:clr>
        </p15:guide>
        <p15:guide id="44" orient="horz" pos="2581">
          <p15:clr>
            <a:srgbClr val="5ACBF0"/>
          </p15:clr>
        </p15:guide>
        <p15:guide id="45" orient="horz" pos="2801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4909C6-CC71-4962-A18E-AF0515723D9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E5A330-5406-498F-9FFD-DB2335383590}" type="datetime1">
              <a:rPr lang="de-DE" noProof="0" smtClean="0"/>
              <a:t>13.06.2025</a:t>
            </a:fld>
            <a:endParaRPr lang="de-DE" noProof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noProof="0"/>
              <a:t>Fußzeile bearbeiten: Einfügen &gt; Kopf- und Fußzeile (Titel der Präsentation und Name des Redner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itel 20 pt, max. zweizeilig für Agenda</a:t>
            </a:r>
            <a:endParaRPr lang="de-DE" noProof="0"/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599985" indent="-599985">
              <a:spcAft>
                <a:spcPts val="1200"/>
              </a:spcAft>
              <a:buClr>
                <a:schemeClr val="accent1"/>
              </a:buClr>
              <a:buSzPct val="145000"/>
              <a:buAutoNum type="arabicPeriod"/>
              <a:defRPr/>
            </a:lvl1pPr>
            <a:lvl2pPr marL="959976">
              <a:defRPr/>
            </a:lvl2pPr>
            <a:lvl3pPr marL="1247969">
              <a:defRPr/>
            </a:lvl3pPr>
            <a:lvl4pPr marL="1535962">
              <a:defRPr/>
            </a:lvl4pPr>
            <a:lvl5pPr marL="1823954">
              <a:defRPr/>
            </a:lvl5pPr>
            <a:lvl6pPr marL="2111947">
              <a:defRPr/>
            </a:lvl6pPr>
            <a:lvl7pPr marL="2399940">
              <a:defRPr/>
            </a:lvl7pPr>
            <a:lvl8pPr marL="2687933">
              <a:defRPr baseline="0"/>
            </a:lvl8pPr>
            <a:lvl9pPr marL="2975926">
              <a:defRPr baseline="0"/>
            </a:lvl9pPr>
          </a:lstStyle>
          <a:p>
            <a:pPr lvl="0"/>
            <a:r>
              <a:rPr lang="de-DE"/>
              <a:t>Um die Hierarchie der Unterpunkte anzupassen, verwenden Sie Start &gt; Absatz &gt; Listenebene verringern/erhöhen. Alternativ Tabelle, Diagramm, SmartArt Grafik, Bild oder Onlinegrafik einfüg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915599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grey 2">
            <a:extLst>
              <a:ext uri="{FF2B5EF4-FFF2-40B4-BE49-F238E27FC236}">
                <a16:creationId xmlns:a16="http://schemas.microsoft.com/office/drawing/2014/main" id="{D2D16FE2-009A-442E-8EA5-4CA8FC1ABC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96000" y="1872000"/>
            <a:ext cx="3600000" cy="3456000"/>
          </a:xfrm>
          <a:solidFill>
            <a:schemeClr val="bg1">
              <a:lumMod val="85000"/>
            </a:schemeClr>
          </a:solidFill>
        </p:spPr>
        <p:txBody>
          <a:bodyPr lIns="72000" tIns="720000" rIns="72000" bIns="108000" anchor="b" anchorCtr="0"/>
          <a:lstStyle>
            <a:lvl1pPr marL="0" indent="0" algn="l"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/>
              <a:t>Firma / Thema</a:t>
            </a:r>
            <a:br>
              <a:rPr lang="de-DE"/>
            </a:br>
            <a:r>
              <a:rPr lang="de-DE"/>
              <a:t>Name (fett)</a:t>
            </a:r>
          </a:p>
        </p:txBody>
      </p:sp>
      <p:sp>
        <p:nvSpPr>
          <p:cNvPr id="19" name="Content Placeholder grey 3">
            <a:extLst>
              <a:ext uri="{FF2B5EF4-FFF2-40B4-BE49-F238E27FC236}">
                <a16:creationId xmlns:a16="http://schemas.microsoft.com/office/drawing/2014/main" id="{53975128-4D96-42DE-8F17-40BAD05D784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56000" y="1872000"/>
            <a:ext cx="3600000" cy="3456000"/>
          </a:xfrm>
          <a:solidFill>
            <a:schemeClr val="bg1">
              <a:lumMod val="85000"/>
            </a:schemeClr>
          </a:solidFill>
        </p:spPr>
        <p:txBody>
          <a:bodyPr lIns="72000" tIns="720000" rIns="72000" bIns="108000" anchor="b" anchorCtr="0"/>
          <a:lstStyle>
            <a:lvl1pPr marL="0" indent="0" algn="l"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/>
              <a:t>Firma / Thema</a:t>
            </a:r>
            <a:br>
              <a:rPr lang="de-DE"/>
            </a:br>
            <a:r>
              <a:rPr lang="de-DE"/>
              <a:t>Name (fett)</a:t>
            </a:r>
          </a:p>
        </p:txBody>
      </p:sp>
      <p:sp>
        <p:nvSpPr>
          <p:cNvPr id="17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56DB8AA-803C-49D2-90AA-1140CE72DC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86E07-97E3-408E-B35C-CE52AF85CADE}" type="datetime1">
              <a:rPr lang="de-DE" smtClean="0"/>
              <a:t>13.06.2025</a:t>
            </a:fld>
            <a:endParaRPr lang="de-DE"/>
          </a:p>
        </p:txBody>
      </p:sp>
      <p:sp>
        <p:nvSpPr>
          <p:cNvPr id="18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Fußzeile bearbeiten: Einfügen &gt; Kopf- und Fußzeile (Titel der Präsentation und Name des Redners)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/>
              <a:t>Titel 20 pt, (alternative Agenda)</a:t>
            </a:r>
          </a:p>
        </p:txBody>
      </p:sp>
      <p:sp>
        <p:nvSpPr>
          <p:cNvPr id="13" name="Text Placeholder 03"/>
          <p:cNvSpPr>
            <a:spLocks noGrp="1"/>
          </p:cNvSpPr>
          <p:nvPr>
            <p:ph type="body" sz="quarter" idx="24" hasCustomPrompt="1"/>
          </p:nvPr>
        </p:nvSpPr>
        <p:spPr>
          <a:xfrm>
            <a:off x="8256000" y="1872000"/>
            <a:ext cx="3600000" cy="768000"/>
          </a:xfrm>
          <a:noFill/>
        </p:spPr>
        <p:txBody>
          <a:bodyPr lIns="72000" tIns="0" rIns="0" bIns="0"/>
          <a:lstStyle>
            <a:lvl1pPr marL="0" indent="0">
              <a:buNone/>
              <a:defRPr sz="5867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“03“</a:t>
            </a:r>
          </a:p>
        </p:txBody>
      </p:sp>
      <p:sp>
        <p:nvSpPr>
          <p:cNvPr id="10" name="Text Placeholder 02"/>
          <p:cNvSpPr>
            <a:spLocks noGrp="1"/>
          </p:cNvSpPr>
          <p:nvPr>
            <p:ph type="body" sz="quarter" idx="23" hasCustomPrompt="1"/>
          </p:nvPr>
        </p:nvSpPr>
        <p:spPr>
          <a:xfrm>
            <a:off x="4296000" y="1872000"/>
            <a:ext cx="3600000" cy="768000"/>
          </a:xfrm>
          <a:noFill/>
        </p:spPr>
        <p:txBody>
          <a:bodyPr lIns="72000" tIns="0" rIns="0" bIns="0"/>
          <a:lstStyle>
            <a:lvl1pPr marL="0" indent="0">
              <a:buNone/>
              <a:defRPr sz="5867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“02“</a:t>
            </a:r>
          </a:p>
        </p:txBody>
      </p:sp>
      <p:sp>
        <p:nvSpPr>
          <p:cNvPr id="5" name="Content Placeholder grey 1"/>
          <p:cNvSpPr>
            <a:spLocks noGrp="1"/>
          </p:cNvSpPr>
          <p:nvPr>
            <p:ph type="body" sz="quarter" idx="16" hasCustomPrompt="1"/>
          </p:nvPr>
        </p:nvSpPr>
        <p:spPr>
          <a:xfrm>
            <a:off x="336000" y="1872000"/>
            <a:ext cx="3600000" cy="3456000"/>
          </a:xfrm>
          <a:solidFill>
            <a:schemeClr val="bg1">
              <a:lumMod val="85000"/>
            </a:schemeClr>
          </a:solidFill>
        </p:spPr>
        <p:txBody>
          <a:bodyPr lIns="72000" tIns="720000" rIns="72000" bIns="108000" anchor="b" anchorCtr="0"/>
          <a:lstStyle>
            <a:lvl1pPr marL="0" indent="0" algn="l"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de-DE"/>
              <a:t>Firma / Thema</a:t>
            </a:r>
            <a:br>
              <a:rPr lang="de-DE"/>
            </a:br>
            <a:r>
              <a:rPr lang="de-DE"/>
              <a:t>Name (fett)</a:t>
            </a:r>
          </a:p>
        </p:txBody>
      </p:sp>
      <p:sp>
        <p:nvSpPr>
          <p:cNvPr id="9" name="Text Placeholder 01"/>
          <p:cNvSpPr>
            <a:spLocks noGrp="1"/>
          </p:cNvSpPr>
          <p:nvPr>
            <p:ph type="body" sz="quarter" idx="22" hasCustomPrompt="1"/>
          </p:nvPr>
        </p:nvSpPr>
        <p:spPr>
          <a:xfrm>
            <a:off x="336000" y="1872000"/>
            <a:ext cx="3600000" cy="768000"/>
          </a:xfrm>
          <a:noFill/>
        </p:spPr>
        <p:txBody>
          <a:bodyPr lIns="72000" tIns="0" rIns="0" bIns="0"/>
          <a:lstStyle>
            <a:lvl1pPr marL="0" indent="0">
              <a:buNone/>
              <a:defRPr sz="5867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“01”</a:t>
            </a:r>
          </a:p>
        </p:txBody>
      </p:sp>
    </p:spTree>
    <p:extLst>
      <p:ext uri="{BB962C8B-B14F-4D97-AF65-F5344CB8AC3E}">
        <p14:creationId xmlns:p14="http://schemas.microsoft.com/office/powerpoint/2010/main" val="76628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FBAE40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FBAE40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A4A3A4"/>
          </p15:clr>
        </p15:guide>
        <p15:guide id="23" orient="horz" pos="884">
          <p15:clr>
            <a:srgbClr val="FBAE40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FBAE40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6" pos="2030">
          <p15:clr>
            <a:srgbClr val="FBAE40"/>
          </p15:clr>
        </p15:guide>
        <p15:guide id="37" pos="373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C5D62D-0B8D-46B8-8153-9042F0236316}" type="datetime1">
              <a:rPr lang="de-DE" noProof="0" smtClean="0"/>
              <a:t>13.06.2025</a:t>
            </a:fld>
            <a:endParaRPr lang="de-DE" noProof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4909C6-CC71-4962-A18E-AF0515723D95}" type="slidenum">
              <a:rPr lang="de-DE" noProof="0" smtClean="0"/>
              <a:pPr/>
              <a:t>‹#›</a:t>
            </a:fld>
            <a:endParaRPr lang="de-DE" noProof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noProof="0"/>
              <a:t>Fußzeile bearbeiten: Einfügen &gt; Kopf- und Fußzeile (Titel der Präsentation und Name des Redner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Titel 20 pt, max. zweizeilig und Aufzählung</a:t>
            </a:r>
            <a:endParaRPr lang="de-DE" noProof="0"/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Um die Hierarchie der Unterpunkte anzupassen, verwenden Sie Start &gt; Absatz &gt; Listenebene verringern/erhöhen. Alternativ Tabelle, Diagramm, SmartArt Grafik, Bild oder Onlinegrafik einfügen.</a:t>
            </a:r>
            <a:br>
              <a:rPr lang="de-DE"/>
            </a:br>
            <a:r>
              <a:rPr lang="de-DE"/>
              <a:t>Diagrammformatierung: Sie können alle einfarbige Farben werdenden und „Farbige Palette 1“ (Menüband &gt;Diagrammentwurf &gt;Farbe ändern). Bitte nutzen Sie nur die Formatvorlagen 1, 2, 6 oder 11. (Menüband &gt;Diagrammentwurf &gt;Diagrammformatvorlagen)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2573993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Logo 1">
            <a:extLst>
              <a:ext uri="{FF2B5EF4-FFF2-40B4-BE49-F238E27FC236}">
                <a16:creationId xmlns:a16="http://schemas.microsoft.com/office/drawing/2014/main" id="{ECB33FF8-6057-4865-A816-0910E6D24BD6}"/>
              </a:ext>
            </a:extLst>
          </p:cNvPr>
          <p:cNvPicPr preferRelativeResize="0">
            <a:picLocks/>
          </p:cNvPicPr>
          <p:nvPr/>
        </p:nvPicPr>
        <p:blipFill>
          <a:blip r:embed="rId30"/>
          <a:stretch>
            <a:fillRect/>
          </a:stretch>
        </p:blipFill>
        <p:spPr>
          <a:xfrm>
            <a:off x="10113051" y="409800"/>
            <a:ext cx="1742400" cy="40320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304000" y="6528000"/>
            <a:ext cx="480000" cy="24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1">
                <a:solidFill>
                  <a:schemeClr val="tx2"/>
                </a:solidFill>
              </a:defRPr>
            </a:lvl1pPr>
          </a:lstStyle>
          <a:p>
            <a:fld id="{D56DB8AA-803C-49D2-90AA-1140CE72DCD7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Date Placeholder 1"/>
          <p:cNvSpPr>
            <a:spLocks noGrp="1"/>
          </p:cNvSpPr>
          <p:nvPr>
            <p:ph type="dt" sz="half" idx="2"/>
          </p:nvPr>
        </p:nvSpPr>
        <p:spPr>
          <a:xfrm>
            <a:off x="10176000" y="6528000"/>
            <a:ext cx="1104000" cy="240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CD18EE2A-2F16-41C4-92AA-DFD412A44461}" type="datetime1">
              <a:rPr lang="de-DE" smtClean="0"/>
              <a:t>13.06.2025</a:t>
            </a:fld>
            <a:endParaRPr lang="de-DE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5224000" y="6528000"/>
            <a:ext cx="4800000" cy="24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DE"/>
              <a:t>Fußzeile bearbeiten: Einfügen &gt; Kopf- und Fußzeile (Titel der Präsentation und Name des Redners)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336001" y="336000"/>
            <a:ext cx="8998500" cy="7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Title 20 pt,</a:t>
            </a:r>
            <a:br>
              <a:rPr lang="de-DE" noProof="0"/>
            </a:br>
            <a:r>
              <a:rPr lang="de-DE" noProof="0"/>
              <a:t>max. zweizeilig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type="body" idx="1"/>
          </p:nvPr>
        </p:nvSpPr>
        <p:spPr>
          <a:xfrm>
            <a:off x="336000" y="1488000"/>
            <a:ext cx="11520000" cy="49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Um die Hierarchie der Unterpunkte anzupassen, verwenden Sie Start &gt; Absatz &gt; Listenebene verringern/erhöhen. Alternativ Tabelle, Diagramm, SmartArt Grafik, Bild oder Onlinegrafik einfüg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1399316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698" r:id="rId24"/>
    <p:sldLayoutId id="2147483699" r:id="rId25"/>
    <p:sldLayoutId id="2147483700" r:id="rId26"/>
    <p:sldLayoutId id="2147483701" r:id="rId27"/>
    <p:sldLayoutId id="2147483702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359991" rtl="0" eaLnBrk="1" latinLnBrk="0" hangingPunct="1">
        <a:spcBef>
          <a:spcPct val="0"/>
        </a:spcBef>
        <a:buNone/>
        <a:defRPr sz="2667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87993" indent="-287993" algn="l" defTabSz="359991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Clr>
          <a:schemeClr val="accent1"/>
        </a:buClr>
        <a:buFont typeface="Wingdings" pitchFamily="2" charset="2"/>
        <a:buChar char="§"/>
        <a:defRPr sz="1867" kern="1200">
          <a:solidFill>
            <a:schemeClr val="tx2"/>
          </a:solidFill>
          <a:latin typeface="+mn-lt"/>
          <a:ea typeface="+mn-ea"/>
          <a:cs typeface="+mn-cs"/>
        </a:defRPr>
      </a:lvl1pPr>
      <a:lvl2pPr marL="575986" indent="-287993" algn="l" defTabSz="359991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Clr>
          <a:schemeClr val="accent1"/>
        </a:buClr>
        <a:buFont typeface="Wingdings" pitchFamily="2" charset="2"/>
        <a:buChar char="§"/>
        <a:defRPr sz="1867" kern="1200">
          <a:solidFill>
            <a:schemeClr val="tx2"/>
          </a:solidFill>
          <a:latin typeface="+mn-lt"/>
          <a:ea typeface="+mn-ea"/>
          <a:cs typeface="+mn-cs"/>
        </a:defRPr>
      </a:lvl2pPr>
      <a:lvl3pPr marL="863978" indent="-287993" algn="l" defTabSz="359991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Clr>
          <a:schemeClr val="accent1"/>
        </a:buClr>
        <a:buFont typeface="Wingdings" pitchFamily="2" charset="2"/>
        <a:buChar char="§"/>
        <a:defRPr sz="1867" kern="1200">
          <a:solidFill>
            <a:schemeClr val="tx2"/>
          </a:solidFill>
          <a:latin typeface="+mn-lt"/>
          <a:ea typeface="+mn-ea"/>
          <a:cs typeface="+mn-cs"/>
        </a:defRPr>
      </a:lvl3pPr>
      <a:lvl4pPr marL="1151971" indent="-287993" algn="l" defTabSz="359991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Clr>
          <a:schemeClr val="accent1"/>
        </a:buClr>
        <a:buFont typeface="Wingdings" pitchFamily="2" charset="2"/>
        <a:buChar char="§"/>
        <a:defRPr sz="1867" kern="1200">
          <a:solidFill>
            <a:schemeClr val="tx2"/>
          </a:solidFill>
          <a:latin typeface="+mn-lt"/>
          <a:ea typeface="+mn-ea"/>
          <a:cs typeface="+mn-cs"/>
        </a:defRPr>
      </a:lvl4pPr>
      <a:lvl5pPr marL="1439964" indent="-287993" algn="l" defTabSz="359991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Clr>
          <a:schemeClr val="accent1"/>
        </a:buClr>
        <a:buFont typeface="Wingdings" pitchFamily="2" charset="2"/>
        <a:buChar char="§"/>
        <a:defRPr sz="1867" kern="1200">
          <a:solidFill>
            <a:schemeClr val="tx2"/>
          </a:solidFill>
          <a:latin typeface="+mn-lt"/>
          <a:ea typeface="+mn-ea"/>
          <a:cs typeface="+mn-cs"/>
        </a:defRPr>
      </a:lvl5pPr>
      <a:lvl6pPr marL="1727957" indent="-287993" algn="l" defTabSz="359991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Clr>
          <a:schemeClr val="accent1"/>
        </a:buClr>
        <a:buFont typeface="Wingdings" pitchFamily="2" charset="2"/>
        <a:buChar char="§"/>
        <a:defRPr sz="1867" kern="1200">
          <a:solidFill>
            <a:schemeClr val="tx2"/>
          </a:solidFill>
          <a:latin typeface="+mn-lt"/>
          <a:ea typeface="+mn-ea"/>
          <a:cs typeface="+mn-cs"/>
        </a:defRPr>
      </a:lvl6pPr>
      <a:lvl7pPr marL="2015950" indent="-287993" algn="l" defTabSz="359991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Clr>
          <a:schemeClr val="accent1"/>
        </a:buClr>
        <a:buFont typeface="Wingdings" pitchFamily="2" charset="2"/>
        <a:buChar char="§"/>
        <a:defRPr sz="1867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2303942" indent="-287993" algn="l" defTabSz="359991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Clr>
          <a:schemeClr val="accent1"/>
        </a:buClr>
        <a:buFont typeface="Wingdings" pitchFamily="2" charset="2"/>
        <a:buChar char="§"/>
        <a:defRPr sz="1867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2591935" indent="-287993" algn="l" defTabSz="359991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Clr>
          <a:schemeClr val="accent1"/>
        </a:buClr>
        <a:buFont typeface="Wingdings" pitchFamily="2" charset="2"/>
        <a:buChar char="§"/>
        <a:defRPr sz="1867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54">
            <a:extLst>
              <a:ext uri="{FF2B5EF4-FFF2-40B4-BE49-F238E27FC236}">
                <a16:creationId xmlns:a16="http://schemas.microsoft.com/office/drawing/2014/main" id="{66748665-FD70-D1D2-794A-BABD0ECCA42D}"/>
              </a:ext>
            </a:extLst>
          </p:cNvPr>
          <p:cNvSpPr/>
          <p:nvPr/>
        </p:nvSpPr>
        <p:spPr>
          <a:xfrm flipV="1">
            <a:off x="244328" y="2064755"/>
            <a:ext cx="11543179" cy="434406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377"/>
            <a:endParaRPr lang="de-DE" sz="1867" dirty="0">
              <a:solidFill>
                <a:prstClr val="white"/>
              </a:solidFill>
              <a:latin typeface="Arial"/>
              <a:ea typeface="Arial Unicode MS"/>
              <a:cs typeface="Arial"/>
            </a:endParaRPr>
          </a:p>
        </p:txBody>
      </p:sp>
      <p:sp>
        <p:nvSpPr>
          <p:cNvPr id="8" name="Titel 6">
            <a:extLst>
              <a:ext uri="{FF2B5EF4-FFF2-40B4-BE49-F238E27FC236}">
                <a16:creationId xmlns:a16="http://schemas.microsoft.com/office/drawing/2014/main" id="{23D22F0D-DE00-B791-1483-0213647D0D04}"/>
              </a:ext>
            </a:extLst>
          </p:cNvPr>
          <p:cNvSpPr txBox="1">
            <a:spLocks/>
          </p:cNvSpPr>
          <p:nvPr/>
        </p:nvSpPr>
        <p:spPr>
          <a:xfrm>
            <a:off x="383355" y="181290"/>
            <a:ext cx="8998500" cy="768000"/>
          </a:xfrm>
          <a:prstGeom prst="rect">
            <a:avLst/>
          </a:prstGeom>
        </p:spPr>
        <p:txBody>
          <a:bodyPr/>
          <a:lstStyle>
            <a:lvl1pPr algn="l" defTabSz="359991" rtl="0" eaLnBrk="1" latinLnBrk="0" hangingPunct="1">
              <a:spcBef>
                <a:spcPct val="0"/>
              </a:spcBef>
              <a:buNone/>
              <a:defRPr sz="2667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chemeClr val="accent1">
                    <a:lumMod val="75000"/>
                  </a:schemeClr>
                </a:solidFill>
              </a:rPr>
              <a:t>Your social media post</a:t>
            </a:r>
            <a:br>
              <a:rPr lang="en-GB" dirty="0">
                <a:solidFill>
                  <a:schemeClr val="accent1">
                    <a:lumMod val="75000"/>
                  </a:schemeClr>
                </a:solidFill>
              </a:rPr>
            </a:br>
            <a:endParaRPr lang="en-US" sz="1867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3C0E9710-5AC3-1A04-4873-121BCD623168}"/>
              </a:ext>
            </a:extLst>
          </p:cNvPr>
          <p:cNvSpPr txBox="1">
            <a:spLocks/>
          </p:cNvSpPr>
          <p:nvPr/>
        </p:nvSpPr>
        <p:spPr>
          <a:xfrm>
            <a:off x="244331" y="817774"/>
            <a:ext cx="11543171" cy="205119"/>
          </a:xfrm>
          <a:prstGeom prst="rect">
            <a:avLst/>
          </a:prstGeom>
          <a:solidFill>
            <a:srgbClr val="D83D96"/>
          </a:solidFill>
        </p:spPr>
        <p:txBody>
          <a:bodyPr vert="horz" lIns="192000" tIns="0" rIns="0" bIns="0" rtlCol="0" anchor="ctr">
            <a:noAutofit/>
          </a:bodyPr>
          <a:lstStyle>
            <a:lvl1pPr marL="287993" indent="-287993" algn="l" defTabSz="35999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itchFamily="2" charset="2"/>
              <a:buChar char="§"/>
              <a:defRPr sz="18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5986" indent="-287993" algn="l" defTabSz="35999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itchFamily="2" charset="2"/>
              <a:buChar char="§"/>
              <a:defRPr sz="18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63978" indent="-287993" algn="l" defTabSz="35999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itchFamily="2" charset="2"/>
              <a:buChar char="§"/>
              <a:defRPr sz="18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51971" indent="-287993" algn="l" defTabSz="35999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itchFamily="2" charset="2"/>
              <a:buChar char="§"/>
              <a:defRPr sz="18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439964" indent="-287993" algn="l" defTabSz="35999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itchFamily="2" charset="2"/>
              <a:buChar char="§"/>
              <a:defRPr sz="18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7957" indent="-287993" algn="l" defTabSz="35999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itchFamily="2" charset="2"/>
              <a:buChar char="§"/>
              <a:defRPr sz="18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015950" indent="-287993" algn="l" defTabSz="35999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itchFamily="2" charset="2"/>
              <a:buChar char="§"/>
              <a:defRPr sz="1867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303942" indent="-287993" algn="l" defTabSz="35999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itchFamily="2" charset="2"/>
              <a:buChar char="§"/>
              <a:defRPr sz="1867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591935" indent="-287993" algn="l" defTabSz="35999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Wingdings" pitchFamily="2" charset="2"/>
              <a:buChar char="§"/>
              <a:defRPr sz="1867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733" b="1">
                <a:solidFill>
                  <a:schemeClr val="bg1"/>
                </a:solidFill>
              </a:rPr>
              <a:t>Highlight the goal of your post and the platform you want to use. </a:t>
            </a:r>
            <a:endParaRPr lang="en-US" sz="733" b="1" dirty="0">
              <a:solidFill>
                <a:schemeClr val="bg1"/>
              </a:solidFill>
            </a:endParaRPr>
          </a:p>
        </p:txBody>
      </p:sp>
      <p:sp>
        <p:nvSpPr>
          <p:cNvPr id="10" name="Rechteck 6">
            <a:extLst>
              <a:ext uri="{FF2B5EF4-FFF2-40B4-BE49-F238E27FC236}">
                <a16:creationId xmlns:a16="http://schemas.microsoft.com/office/drawing/2014/main" id="{BD4ECFBF-F24F-AC4F-AB1B-E9768523C37A}"/>
              </a:ext>
            </a:extLst>
          </p:cNvPr>
          <p:cNvSpPr/>
          <p:nvPr/>
        </p:nvSpPr>
        <p:spPr>
          <a:xfrm>
            <a:off x="244331" y="1020991"/>
            <a:ext cx="11543179" cy="9657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914377"/>
            <a:endParaRPr lang="de-DE" sz="1867">
              <a:solidFill>
                <a:prstClr val="white"/>
              </a:solidFill>
              <a:latin typeface="Arial"/>
              <a:ea typeface="Arial Unicode MS"/>
              <a:cs typeface="Arial"/>
            </a:endParaRPr>
          </a:p>
        </p:txBody>
      </p:sp>
      <p:sp>
        <p:nvSpPr>
          <p:cNvPr id="11" name="Titel 6">
            <a:extLst>
              <a:ext uri="{FF2B5EF4-FFF2-40B4-BE49-F238E27FC236}">
                <a16:creationId xmlns:a16="http://schemas.microsoft.com/office/drawing/2014/main" id="{725FCB9D-DD49-C7AF-8E2D-803B494D3F75}"/>
              </a:ext>
            </a:extLst>
          </p:cNvPr>
          <p:cNvSpPr txBox="1">
            <a:spLocks/>
          </p:cNvSpPr>
          <p:nvPr/>
        </p:nvSpPr>
        <p:spPr>
          <a:xfrm>
            <a:off x="383362" y="1100894"/>
            <a:ext cx="1916764" cy="240061"/>
          </a:xfrm>
          <a:prstGeom prst="rect">
            <a:avLst/>
          </a:prstGeom>
          <a:noFill/>
        </p:spPr>
        <p:txBody>
          <a:bodyPr vert="horz" lIns="57600" tIns="0" rIns="0" bIns="0" rtlCol="0" anchor="ctr" anchorCtr="0">
            <a:noAutofit/>
          </a:bodyPr>
          <a:lstStyle>
            <a:lvl1pPr algn="l" defTabSz="2700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359991"/>
            <a:r>
              <a:rPr lang="en-GB" sz="667" b="1" spc="400">
                <a:solidFill>
                  <a:srgbClr val="0F1E32"/>
                </a:solidFill>
                <a:latin typeface="Arial"/>
                <a:ea typeface="Arial Unicode MS"/>
                <a:cs typeface="Arial"/>
              </a:rPr>
              <a:t>GOAL:</a:t>
            </a:r>
            <a:endParaRPr lang="en-US" sz="667" b="1" spc="400">
              <a:solidFill>
                <a:srgbClr val="0F1E32"/>
              </a:solidFill>
              <a:latin typeface="Arial"/>
              <a:ea typeface="Arial Unicode MS"/>
              <a:cs typeface="Arial"/>
            </a:endParaRPr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8CF5F2BC-B300-E179-40B4-E2CEB3733F56}"/>
              </a:ext>
            </a:extLst>
          </p:cNvPr>
          <p:cNvSpPr txBox="1">
            <a:spLocks/>
          </p:cNvSpPr>
          <p:nvPr/>
        </p:nvSpPr>
        <p:spPr>
          <a:xfrm>
            <a:off x="383355" y="1340955"/>
            <a:ext cx="3589399" cy="21715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txBody>
          <a:bodyPr vert="horz" lIns="48000" tIns="0" rIns="0" bIns="0" rtlCol="0" anchor="ctr">
            <a:noAutofit/>
          </a:bodyPr>
          <a:lstStyle>
            <a:lvl1pPr marL="216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AutoNum type="arabicPeriod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296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512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728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944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59991">
              <a:spcAft>
                <a:spcPts val="1200"/>
              </a:spcAft>
              <a:buClr>
                <a:srgbClr val="0F1E32"/>
              </a:buClr>
              <a:buNone/>
            </a:pPr>
            <a:endParaRPr lang="en-US" sz="667" dirty="0">
              <a:solidFill>
                <a:srgbClr val="0F1E32"/>
              </a:solidFill>
              <a:latin typeface="Arial"/>
              <a:ea typeface="Arial Unicode MS"/>
              <a:cs typeface="Arial"/>
            </a:endParaRPr>
          </a:p>
          <a:p>
            <a:pPr marL="0" indent="0" defTabSz="359991">
              <a:spcAft>
                <a:spcPts val="1200"/>
              </a:spcAft>
              <a:buClr>
                <a:srgbClr val="0F1E32"/>
              </a:buClr>
              <a:buNone/>
            </a:pPr>
            <a:r>
              <a:rPr lang="en-US" sz="667" dirty="0">
                <a:solidFill>
                  <a:srgbClr val="0F1E32"/>
                </a:solidFill>
                <a:latin typeface="Arial"/>
                <a:ea typeface="Arial Unicode MS"/>
                <a:cs typeface="Arial"/>
              </a:rPr>
              <a:t>Awareness: Show your content to as many people as possible.</a:t>
            </a:r>
          </a:p>
          <a:p>
            <a:pPr marL="0" indent="0" defTabSz="359991">
              <a:spcAft>
                <a:spcPts val="1200"/>
              </a:spcAft>
              <a:buClr>
                <a:srgbClr val="0F1E32"/>
              </a:buClr>
              <a:buNone/>
            </a:pPr>
            <a:endParaRPr lang="en-US" sz="667" dirty="0">
              <a:solidFill>
                <a:srgbClr val="0F1E32"/>
              </a:solidFill>
              <a:latin typeface="Arial"/>
              <a:ea typeface="Arial Unicode MS"/>
              <a:cs typeface="Arial"/>
            </a:endParaRPr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1875AC6D-721A-6459-29AB-D8EE57EE93EC}"/>
              </a:ext>
            </a:extLst>
          </p:cNvPr>
          <p:cNvSpPr txBox="1">
            <a:spLocks/>
          </p:cNvSpPr>
          <p:nvPr/>
        </p:nvSpPr>
        <p:spPr>
          <a:xfrm>
            <a:off x="383356" y="1659018"/>
            <a:ext cx="3589393" cy="2483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txBody>
          <a:bodyPr vert="horz" lIns="48000" tIns="0" rIns="0" bIns="0" rtlCol="0" anchor="ctr">
            <a:noAutofit/>
          </a:bodyPr>
          <a:lstStyle>
            <a:lvl1pPr marL="216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AutoNum type="arabicPeriod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296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512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728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944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59991">
              <a:spcAft>
                <a:spcPts val="1200"/>
              </a:spcAft>
              <a:buClr>
                <a:srgbClr val="0F1E32"/>
              </a:buClr>
              <a:buNone/>
            </a:pPr>
            <a:endParaRPr lang="en-US" sz="667" dirty="0">
              <a:solidFill>
                <a:srgbClr val="0F1E32"/>
              </a:solidFill>
              <a:latin typeface="Arial"/>
              <a:ea typeface="Arial Unicode MS"/>
              <a:cs typeface="Arial"/>
            </a:endParaRPr>
          </a:p>
          <a:p>
            <a:pPr marL="0" indent="0" defTabSz="359991">
              <a:spcAft>
                <a:spcPts val="1200"/>
              </a:spcAft>
              <a:buClr>
                <a:srgbClr val="0F1E32"/>
              </a:buClr>
              <a:buNone/>
            </a:pPr>
            <a:r>
              <a:rPr lang="en-US" sz="667" dirty="0">
                <a:solidFill>
                  <a:srgbClr val="0F1E32"/>
                </a:solidFill>
                <a:latin typeface="Arial"/>
                <a:ea typeface="Arial Unicode MS"/>
                <a:cs typeface="Arial"/>
              </a:rPr>
              <a:t>Engagement: Get people to interact with your content, likes, comments, and shares. </a:t>
            </a:r>
          </a:p>
          <a:p>
            <a:pPr marL="0" indent="0" defTabSz="359991">
              <a:spcAft>
                <a:spcPts val="1200"/>
              </a:spcAft>
              <a:buClr>
                <a:srgbClr val="0F1E32"/>
              </a:buClr>
              <a:buNone/>
            </a:pPr>
            <a:endParaRPr lang="en-US" sz="667" dirty="0">
              <a:solidFill>
                <a:srgbClr val="0F1E32"/>
              </a:solidFill>
              <a:latin typeface="Arial"/>
              <a:ea typeface="Arial Unicode MS"/>
              <a:cs typeface="Arial"/>
            </a:endParaRP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8A562AD0-2418-0FAE-6371-BC3520789008}"/>
              </a:ext>
            </a:extLst>
          </p:cNvPr>
          <p:cNvSpPr txBox="1">
            <a:spLocks/>
          </p:cNvSpPr>
          <p:nvPr/>
        </p:nvSpPr>
        <p:spPr>
          <a:xfrm>
            <a:off x="5072115" y="1348448"/>
            <a:ext cx="1248000" cy="192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txBody>
          <a:bodyPr vert="horz" lIns="48000" tIns="0" rIns="0" bIns="0" rtlCol="0" anchor="ctr">
            <a:noAutofit/>
          </a:bodyPr>
          <a:lstStyle>
            <a:lvl1pPr marL="216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AutoNum type="arabicPeriod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296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512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728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944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59991">
              <a:spcAft>
                <a:spcPts val="1200"/>
              </a:spcAft>
              <a:buClr>
                <a:srgbClr val="0F1E32"/>
              </a:buClr>
              <a:buNone/>
            </a:pPr>
            <a:r>
              <a:rPr lang="en-US" sz="667" dirty="0">
                <a:solidFill>
                  <a:srgbClr val="0F1E32"/>
                </a:solidFill>
                <a:latin typeface="Arial"/>
                <a:ea typeface="Arial Unicode MS"/>
                <a:cs typeface="Arial"/>
              </a:rPr>
              <a:t>LinkedIn</a:t>
            </a:r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2CFE6EB3-BA49-2404-E085-E913D9301C7B}"/>
              </a:ext>
            </a:extLst>
          </p:cNvPr>
          <p:cNvSpPr txBox="1">
            <a:spLocks/>
          </p:cNvSpPr>
          <p:nvPr/>
        </p:nvSpPr>
        <p:spPr>
          <a:xfrm>
            <a:off x="5072115" y="1599656"/>
            <a:ext cx="1248000" cy="192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txBody>
          <a:bodyPr vert="horz" lIns="48000" tIns="0" rIns="0" bIns="0" rtlCol="0" anchor="ctr">
            <a:noAutofit/>
          </a:bodyPr>
          <a:lstStyle>
            <a:lvl1pPr marL="216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AutoNum type="arabicPeriod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296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512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728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944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59991">
              <a:spcAft>
                <a:spcPts val="1200"/>
              </a:spcAft>
              <a:buClr>
                <a:srgbClr val="0F1E32"/>
              </a:buClr>
              <a:buNone/>
            </a:pPr>
            <a:r>
              <a:rPr lang="en-US" sz="667" dirty="0">
                <a:solidFill>
                  <a:srgbClr val="0F1E32"/>
                </a:solidFill>
                <a:latin typeface="Arial"/>
                <a:ea typeface="Arial Unicode MS"/>
                <a:cs typeface="Arial"/>
              </a:rPr>
              <a:t>Instagram </a:t>
            </a:r>
          </a:p>
        </p:txBody>
      </p:sp>
      <p:sp>
        <p:nvSpPr>
          <p:cNvPr id="16" name="Titel 6">
            <a:extLst>
              <a:ext uri="{FF2B5EF4-FFF2-40B4-BE49-F238E27FC236}">
                <a16:creationId xmlns:a16="http://schemas.microsoft.com/office/drawing/2014/main" id="{EBE35BCE-A344-927C-2EF5-F0211EDE16C3}"/>
              </a:ext>
            </a:extLst>
          </p:cNvPr>
          <p:cNvSpPr txBox="1">
            <a:spLocks/>
          </p:cNvSpPr>
          <p:nvPr/>
        </p:nvSpPr>
        <p:spPr>
          <a:xfrm>
            <a:off x="5079169" y="1100894"/>
            <a:ext cx="1916764" cy="240061"/>
          </a:xfrm>
          <a:prstGeom prst="rect">
            <a:avLst/>
          </a:prstGeom>
          <a:noFill/>
        </p:spPr>
        <p:txBody>
          <a:bodyPr vert="horz" lIns="57600" tIns="0" rIns="0" bIns="0" rtlCol="0" anchor="ctr" anchorCtr="0">
            <a:noAutofit/>
          </a:bodyPr>
          <a:lstStyle>
            <a:lvl1pPr algn="l" defTabSz="2700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359991"/>
            <a:r>
              <a:rPr lang="en-GB" sz="667" b="1" spc="400" dirty="0">
                <a:solidFill>
                  <a:srgbClr val="0F1E32"/>
                </a:solidFill>
                <a:latin typeface="Arial"/>
                <a:ea typeface="Arial Unicode MS"/>
                <a:cs typeface="Arial"/>
              </a:rPr>
              <a:t>platform:</a:t>
            </a:r>
            <a:endParaRPr lang="en-US" sz="667" b="1" spc="400" dirty="0">
              <a:solidFill>
                <a:srgbClr val="0F1E32"/>
              </a:solidFill>
              <a:latin typeface="Arial"/>
              <a:ea typeface="Arial Unicode MS"/>
              <a:cs typeface="Arial"/>
            </a:endParaRPr>
          </a:p>
        </p:txBody>
      </p:sp>
      <p:cxnSp>
        <p:nvCxnSpPr>
          <p:cNvPr id="17" name="Gerade Verbindung 49">
            <a:extLst>
              <a:ext uri="{FF2B5EF4-FFF2-40B4-BE49-F238E27FC236}">
                <a16:creationId xmlns:a16="http://schemas.microsoft.com/office/drawing/2014/main" id="{4676F077-11AB-A306-5D1F-A27A43E2383C}"/>
              </a:ext>
            </a:extLst>
          </p:cNvPr>
          <p:cNvCxnSpPr>
            <a:cxnSpLocks/>
          </p:cNvCxnSpPr>
          <p:nvPr/>
        </p:nvCxnSpPr>
        <p:spPr>
          <a:xfrm>
            <a:off x="4707707" y="1186878"/>
            <a:ext cx="0" cy="799876"/>
          </a:xfrm>
          <a:prstGeom prst="line">
            <a:avLst/>
          </a:prstGeom>
          <a:ln w="9525" cap="rnd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A059FCBB-35C9-5F12-B679-267CC335A47B}"/>
              </a:ext>
            </a:extLst>
          </p:cNvPr>
          <p:cNvSpPr txBox="1">
            <a:spLocks/>
          </p:cNvSpPr>
          <p:nvPr/>
        </p:nvSpPr>
        <p:spPr>
          <a:xfrm>
            <a:off x="6380344" y="1347797"/>
            <a:ext cx="1248000" cy="192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txBody>
          <a:bodyPr vert="horz" lIns="48000" tIns="0" rIns="0" bIns="0" rtlCol="0" anchor="ctr">
            <a:noAutofit/>
          </a:bodyPr>
          <a:lstStyle>
            <a:lvl1pPr marL="216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AutoNum type="arabicPeriod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296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512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728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944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59991">
              <a:spcAft>
                <a:spcPts val="1200"/>
              </a:spcAft>
              <a:buClr>
                <a:srgbClr val="0F1E32"/>
              </a:buClr>
              <a:buNone/>
            </a:pPr>
            <a:r>
              <a:rPr lang="en-US" sz="667" dirty="0">
                <a:solidFill>
                  <a:srgbClr val="0F1E32"/>
                </a:solidFill>
                <a:latin typeface="Arial"/>
                <a:ea typeface="Arial Unicode MS"/>
                <a:cs typeface="Arial"/>
              </a:rPr>
              <a:t>Facebook </a:t>
            </a:r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D3A1A862-C430-15C8-3E1A-E3148905A3F0}"/>
              </a:ext>
            </a:extLst>
          </p:cNvPr>
          <p:cNvSpPr txBox="1">
            <a:spLocks/>
          </p:cNvSpPr>
          <p:nvPr/>
        </p:nvSpPr>
        <p:spPr>
          <a:xfrm>
            <a:off x="6371932" y="1599005"/>
            <a:ext cx="1248000" cy="19265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txBody>
          <a:bodyPr vert="horz" lIns="48000" tIns="0" rIns="0" bIns="0" rtlCol="0" anchor="ctr">
            <a:noAutofit/>
          </a:bodyPr>
          <a:lstStyle>
            <a:lvl1pPr marL="216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AutoNum type="arabicPeriod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296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512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728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944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59991">
              <a:spcAft>
                <a:spcPts val="1200"/>
              </a:spcAft>
              <a:buClr>
                <a:srgbClr val="0F1E32"/>
              </a:buClr>
              <a:buNone/>
            </a:pPr>
            <a:r>
              <a:rPr lang="en-US" sz="667" dirty="0">
                <a:solidFill>
                  <a:srgbClr val="0F1E32"/>
                </a:solidFill>
                <a:latin typeface="Arial"/>
                <a:ea typeface="Arial Unicode MS"/>
                <a:cs typeface="Arial"/>
              </a:rPr>
              <a:t>LinkedIn </a:t>
            </a:r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912A77C1-34B7-A093-F810-EAAC6A0F6834}"/>
              </a:ext>
            </a:extLst>
          </p:cNvPr>
          <p:cNvSpPr txBox="1">
            <a:spLocks/>
          </p:cNvSpPr>
          <p:nvPr/>
        </p:nvSpPr>
        <p:spPr>
          <a:xfrm>
            <a:off x="741749" y="2205671"/>
            <a:ext cx="4951831" cy="243255"/>
          </a:xfrm>
          <a:prstGeom prst="roundRect">
            <a:avLst>
              <a:gd name="adj" fmla="val 5251"/>
            </a:avLst>
          </a:prstGeom>
          <a:noFill/>
          <a:ln w="6350">
            <a:noFill/>
          </a:ln>
        </p:spPr>
        <p:txBody>
          <a:bodyPr vert="horz" lIns="0" tIns="72000" rIns="48000" bIns="48000" rtlCol="0" anchor="ctr">
            <a:noAutofit/>
          </a:bodyPr>
          <a:lstStyle>
            <a:lvl1pPr marL="216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AutoNum type="arabicPeriod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296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512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728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944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359991">
              <a:spcAft>
                <a:spcPts val="800"/>
              </a:spcAft>
              <a:buClr>
                <a:srgbClr val="3350B8"/>
              </a:buClr>
              <a:buNone/>
            </a:pPr>
            <a:r>
              <a:rPr lang="en-US" sz="933" b="1" spc="400" dirty="0">
                <a:solidFill>
                  <a:srgbClr val="D83D96"/>
                </a:solidFill>
                <a:latin typeface="Arial"/>
                <a:ea typeface="Arial Unicode MS"/>
                <a:cs typeface="Arial"/>
              </a:rPr>
              <a:t>C O P Y |POST</a:t>
            </a:r>
            <a:endParaRPr lang="en-US" sz="1867" spc="400" dirty="0">
              <a:solidFill>
                <a:srgbClr val="D83D96"/>
              </a:solidFill>
              <a:latin typeface="Arial"/>
              <a:ea typeface="Arial Unicode MS"/>
              <a:cs typeface="Arial"/>
            </a:endParaRPr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58F84AAE-E855-C032-088A-9A8F5958501B}"/>
              </a:ext>
            </a:extLst>
          </p:cNvPr>
          <p:cNvSpPr txBox="1">
            <a:spLocks/>
          </p:cNvSpPr>
          <p:nvPr/>
        </p:nvSpPr>
        <p:spPr>
          <a:xfrm>
            <a:off x="7619933" y="2205671"/>
            <a:ext cx="3925233" cy="243255"/>
          </a:xfrm>
          <a:prstGeom prst="roundRect">
            <a:avLst>
              <a:gd name="adj" fmla="val 5251"/>
            </a:avLst>
          </a:prstGeom>
          <a:noFill/>
          <a:ln w="6350">
            <a:noFill/>
          </a:ln>
        </p:spPr>
        <p:txBody>
          <a:bodyPr vert="horz" lIns="0" tIns="72000" rIns="48000" bIns="48000" rtlCol="0" anchor="ctr">
            <a:noAutofit/>
          </a:bodyPr>
          <a:lstStyle>
            <a:lvl1pPr marL="216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AutoNum type="arabicPeriod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296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512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728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944000" indent="-216000" algn="l" defTabSz="270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359991">
              <a:spcAft>
                <a:spcPts val="800"/>
              </a:spcAft>
              <a:buClr>
                <a:srgbClr val="3350B8"/>
              </a:buClr>
              <a:buNone/>
            </a:pPr>
            <a:r>
              <a:rPr lang="en-US" sz="933" b="1" spc="400">
                <a:solidFill>
                  <a:srgbClr val="3350B8">
                    <a:lumMod val="75000"/>
                  </a:srgbClr>
                </a:solidFill>
                <a:latin typeface="Arial"/>
                <a:ea typeface="Arial Unicode MS"/>
                <a:cs typeface="Arial"/>
              </a:rPr>
              <a:t>I M A G E</a:t>
            </a:r>
            <a:endParaRPr lang="en-US" sz="1867" spc="400">
              <a:solidFill>
                <a:srgbClr val="3350B8">
                  <a:lumMod val="75000"/>
                </a:srgbClr>
              </a:solidFill>
              <a:latin typeface="Arial"/>
              <a:ea typeface="Arial Unicode MS"/>
              <a:cs typeface="Arial"/>
            </a:endParaRPr>
          </a:p>
        </p:txBody>
      </p:sp>
      <p:grpSp>
        <p:nvGrpSpPr>
          <p:cNvPr id="22" name="Gruppieren 1065">
            <a:extLst>
              <a:ext uri="{FF2B5EF4-FFF2-40B4-BE49-F238E27FC236}">
                <a16:creationId xmlns:a16="http://schemas.microsoft.com/office/drawing/2014/main" id="{37473A5A-179D-9F9B-FC79-44892F3CEE6A}"/>
              </a:ext>
            </a:extLst>
          </p:cNvPr>
          <p:cNvGrpSpPr/>
          <p:nvPr/>
        </p:nvGrpSpPr>
        <p:grpSpPr>
          <a:xfrm>
            <a:off x="6180913" y="2448926"/>
            <a:ext cx="5372271" cy="4100809"/>
            <a:chOff x="5737037" y="2749024"/>
            <a:chExt cx="2996602" cy="436838"/>
          </a:xfrm>
        </p:grpSpPr>
        <p:sp>
          <p:nvSpPr>
            <p:cNvPr id="23" name="Content Placeholder 6">
              <a:extLst>
                <a:ext uri="{FF2B5EF4-FFF2-40B4-BE49-F238E27FC236}">
                  <a16:creationId xmlns:a16="http://schemas.microsoft.com/office/drawing/2014/main" id="{DF205A99-6C3C-4E7A-06B8-1803DB011304}"/>
                </a:ext>
              </a:extLst>
            </p:cNvPr>
            <p:cNvSpPr txBox="1">
              <a:spLocks/>
            </p:cNvSpPr>
            <p:nvPr/>
          </p:nvSpPr>
          <p:spPr>
            <a:xfrm>
              <a:off x="5781642" y="2758230"/>
              <a:ext cx="2951997" cy="106022"/>
            </a:xfrm>
            <a:prstGeom prst="round2SameRect">
              <a:avLst>
                <a:gd name="adj1" fmla="val 32676"/>
                <a:gd name="adj2" fmla="val 0"/>
              </a:avLst>
            </a:prstGeom>
            <a:noFill/>
            <a:ln w="3175">
              <a:noFill/>
            </a:ln>
          </p:spPr>
          <p:txBody>
            <a:bodyPr vert="horz" lIns="96000" tIns="72000" rIns="48000" bIns="48000" rtlCol="0" anchor="t" anchorCtr="0">
              <a:noAutofit/>
            </a:bodyPr>
            <a:lstStyle>
              <a:lvl1pPr marL="216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AutoNum type="arabi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32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48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64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1080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1296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1512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1728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1944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359991">
                <a:spcAft>
                  <a:spcPts val="800"/>
                </a:spcAft>
                <a:buClr>
                  <a:srgbClr val="0F1E32"/>
                </a:buClr>
                <a:buNone/>
              </a:pPr>
              <a:endParaRPr lang="en-US" sz="800" i="1">
                <a:solidFill>
                  <a:srgbClr val="5DB1C3">
                    <a:lumMod val="75000"/>
                  </a:srgbClr>
                </a:solidFill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24" name="Content Placeholder 6">
              <a:extLst>
                <a:ext uri="{FF2B5EF4-FFF2-40B4-BE49-F238E27FC236}">
                  <a16:creationId xmlns:a16="http://schemas.microsoft.com/office/drawing/2014/main" id="{07C3A5DA-302D-567A-039A-CFE5C0478263}"/>
                </a:ext>
              </a:extLst>
            </p:cNvPr>
            <p:cNvSpPr txBox="1">
              <a:spLocks/>
            </p:cNvSpPr>
            <p:nvPr/>
          </p:nvSpPr>
          <p:spPr>
            <a:xfrm>
              <a:off x="5737037" y="2749024"/>
              <a:ext cx="2951995" cy="436838"/>
            </a:xfrm>
            <a:prstGeom prst="roundRect">
              <a:avLst>
                <a:gd name="adj" fmla="val 9461"/>
              </a:avLst>
            </a:prstGeom>
            <a:noFill/>
            <a:ln w="3175">
              <a:solidFill>
                <a:schemeClr val="accent5">
                  <a:lumMod val="50000"/>
                </a:schemeClr>
              </a:solidFill>
            </a:ln>
          </p:spPr>
          <p:txBody>
            <a:bodyPr vert="horz" lIns="96000" tIns="216000" rIns="48000" bIns="48000" rtlCol="0" anchor="t" anchorCtr="0">
              <a:noAutofit/>
            </a:bodyPr>
            <a:lstStyle>
              <a:lvl1pPr marL="216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AutoNum type="arabi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32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48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64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1080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1296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1512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1728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1944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359991">
                <a:spcAft>
                  <a:spcPts val="800"/>
                </a:spcAft>
                <a:buClr>
                  <a:srgbClr val="0F1E32"/>
                </a:buClr>
                <a:buNone/>
              </a:pPr>
              <a:endParaRPr lang="en-US" sz="800" i="1" dirty="0">
                <a:solidFill>
                  <a:srgbClr val="008080">
                    <a:lumMod val="75000"/>
                  </a:srgbClr>
                </a:solidFill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25" name="Gruppieren 1104">
            <a:extLst>
              <a:ext uri="{FF2B5EF4-FFF2-40B4-BE49-F238E27FC236}">
                <a16:creationId xmlns:a16="http://schemas.microsoft.com/office/drawing/2014/main" id="{B28C9587-478B-F4D0-FEC0-DB562D251FFC}"/>
              </a:ext>
            </a:extLst>
          </p:cNvPr>
          <p:cNvGrpSpPr/>
          <p:nvPr/>
        </p:nvGrpSpPr>
        <p:grpSpPr>
          <a:xfrm>
            <a:off x="384084" y="2581661"/>
            <a:ext cx="5299405" cy="2838727"/>
            <a:chOff x="5781642" y="2756698"/>
            <a:chExt cx="2945983" cy="835538"/>
          </a:xfrm>
        </p:grpSpPr>
        <p:sp>
          <p:nvSpPr>
            <p:cNvPr id="26" name="Content Placeholder 6">
              <a:extLst>
                <a:ext uri="{FF2B5EF4-FFF2-40B4-BE49-F238E27FC236}">
                  <a16:creationId xmlns:a16="http://schemas.microsoft.com/office/drawing/2014/main" id="{859F508D-8E30-5B44-7342-0FD269610542}"/>
                </a:ext>
              </a:extLst>
            </p:cNvPr>
            <p:cNvSpPr txBox="1">
              <a:spLocks/>
            </p:cNvSpPr>
            <p:nvPr/>
          </p:nvSpPr>
          <p:spPr>
            <a:xfrm>
              <a:off x="5781642" y="2758230"/>
              <a:ext cx="2945983" cy="106022"/>
            </a:xfrm>
            <a:prstGeom prst="round2SameRect">
              <a:avLst>
                <a:gd name="adj1" fmla="val 42188"/>
                <a:gd name="adj2" fmla="val 0"/>
              </a:avLst>
            </a:prstGeom>
            <a:noFill/>
            <a:ln w="3175">
              <a:noFill/>
            </a:ln>
          </p:spPr>
          <p:txBody>
            <a:bodyPr vert="horz" lIns="96000" tIns="72000" rIns="48000" bIns="48000" rtlCol="0" anchor="t" anchorCtr="0">
              <a:noAutofit/>
            </a:bodyPr>
            <a:lstStyle>
              <a:lvl1pPr marL="216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AutoNum type="arabi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32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48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64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1080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1296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1512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1728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1944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359991">
                <a:spcAft>
                  <a:spcPts val="800"/>
                </a:spcAft>
                <a:buClr>
                  <a:srgbClr val="0F1E32"/>
                </a:buClr>
                <a:buNone/>
              </a:pPr>
              <a:endParaRPr lang="en-US" sz="800" i="1" dirty="0">
                <a:solidFill>
                  <a:srgbClr val="5DB1C3">
                    <a:lumMod val="75000"/>
                  </a:srgbClr>
                </a:solidFill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27" name="Content Placeholder 6">
              <a:extLst>
                <a:ext uri="{FF2B5EF4-FFF2-40B4-BE49-F238E27FC236}">
                  <a16:creationId xmlns:a16="http://schemas.microsoft.com/office/drawing/2014/main" id="{134226A1-E81B-18C1-7C59-83BB66D931BD}"/>
                </a:ext>
              </a:extLst>
            </p:cNvPr>
            <p:cNvSpPr txBox="1">
              <a:spLocks/>
            </p:cNvSpPr>
            <p:nvPr/>
          </p:nvSpPr>
          <p:spPr>
            <a:xfrm>
              <a:off x="5781643" y="2756698"/>
              <a:ext cx="2945982" cy="835538"/>
            </a:xfrm>
            <a:prstGeom prst="roundRect">
              <a:avLst>
                <a:gd name="adj" fmla="val 9461"/>
              </a:avLst>
            </a:prstGeom>
            <a:noFill/>
            <a:ln w="3175">
              <a:solidFill>
                <a:schemeClr val="accent5">
                  <a:lumMod val="50000"/>
                </a:schemeClr>
              </a:solidFill>
            </a:ln>
          </p:spPr>
          <p:txBody>
            <a:bodyPr vert="horz" lIns="96000" tIns="216000" rIns="48000" bIns="48000" rtlCol="0" anchor="t" anchorCtr="0">
              <a:noAutofit/>
            </a:bodyPr>
            <a:lstStyle>
              <a:lvl1pPr marL="216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AutoNum type="arabi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32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48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64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1080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1296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1512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1728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1944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359991">
                <a:lnSpc>
                  <a:spcPct val="100000"/>
                </a:lnSpc>
                <a:spcAft>
                  <a:spcPts val="0"/>
                </a:spcAft>
                <a:buClr>
                  <a:srgbClr val="0F1E32"/>
                </a:buClr>
                <a:buNone/>
              </a:pPr>
              <a:endParaRPr lang="en-US" sz="733" dirty="0">
                <a:solidFill>
                  <a:prstClr val="white"/>
                </a:solidFill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28" name="Titel 6">
              <a:extLst>
                <a:ext uri="{FF2B5EF4-FFF2-40B4-BE49-F238E27FC236}">
                  <a16:creationId xmlns:a16="http://schemas.microsoft.com/office/drawing/2014/main" id="{1A1A1E4C-A25C-3BC0-A5E4-EB5143AB57CB}"/>
                </a:ext>
              </a:extLst>
            </p:cNvPr>
            <p:cNvSpPr txBox="1">
              <a:spLocks/>
            </p:cNvSpPr>
            <p:nvPr/>
          </p:nvSpPr>
          <p:spPr>
            <a:xfrm>
              <a:off x="5798708" y="2756699"/>
              <a:ext cx="1486023" cy="106022"/>
            </a:xfrm>
            <a:prstGeom prst="rect">
              <a:avLst/>
            </a:prstGeom>
            <a:noFill/>
          </p:spPr>
          <p:txBody>
            <a:bodyPr vert="horz" lIns="96000" tIns="0" rIns="0" bIns="0" rtlCol="0" anchor="ctr" anchorCtr="0">
              <a:noAutofit/>
            </a:bodyPr>
            <a:lstStyle>
              <a:lvl1pPr algn="l" defTabSz="270000" rtl="0" eaLnBrk="1" latinLnBrk="0" hangingPunct="1">
                <a:spcBef>
                  <a:spcPct val="0"/>
                </a:spcBef>
                <a:buNone/>
                <a:defRPr sz="2000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359991"/>
              <a:r>
                <a:rPr lang="en-GB" sz="667" b="1" dirty="0">
                  <a:solidFill>
                    <a:srgbClr val="0F1E32"/>
                  </a:solidFill>
                  <a:latin typeface="Arial"/>
                  <a:ea typeface="Arial Unicode MS"/>
                  <a:cs typeface="Arial"/>
                </a:rPr>
                <a:t>Post Body text</a:t>
              </a:r>
              <a:endParaRPr lang="en-US" sz="667" b="1" dirty="0">
                <a:solidFill>
                  <a:srgbClr val="0F1E32"/>
                </a:solidFill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29" name="Gruppieren 1108">
            <a:extLst>
              <a:ext uri="{FF2B5EF4-FFF2-40B4-BE49-F238E27FC236}">
                <a16:creationId xmlns:a16="http://schemas.microsoft.com/office/drawing/2014/main" id="{06656E40-10D0-A0AC-1F69-0F3D0D6271B5}"/>
              </a:ext>
            </a:extLst>
          </p:cNvPr>
          <p:cNvGrpSpPr/>
          <p:nvPr/>
        </p:nvGrpSpPr>
        <p:grpSpPr>
          <a:xfrm>
            <a:off x="383355" y="5552600"/>
            <a:ext cx="5310224" cy="582451"/>
            <a:chOff x="5775628" y="2748306"/>
            <a:chExt cx="2951997" cy="436838"/>
          </a:xfrm>
        </p:grpSpPr>
        <p:sp>
          <p:nvSpPr>
            <p:cNvPr id="30" name="Content Placeholder 6">
              <a:extLst>
                <a:ext uri="{FF2B5EF4-FFF2-40B4-BE49-F238E27FC236}">
                  <a16:creationId xmlns:a16="http://schemas.microsoft.com/office/drawing/2014/main" id="{BAB02636-D933-EA13-ED74-66C20144D075}"/>
                </a:ext>
              </a:extLst>
            </p:cNvPr>
            <p:cNvSpPr txBox="1">
              <a:spLocks/>
            </p:cNvSpPr>
            <p:nvPr/>
          </p:nvSpPr>
          <p:spPr>
            <a:xfrm>
              <a:off x="5781643" y="2758230"/>
              <a:ext cx="2945982" cy="106022"/>
            </a:xfrm>
            <a:prstGeom prst="round2SameRect">
              <a:avLst>
                <a:gd name="adj1" fmla="val 32676"/>
                <a:gd name="adj2" fmla="val 0"/>
              </a:avLst>
            </a:prstGeom>
            <a:solidFill>
              <a:srgbClr val="D83D96">
                <a:alpha val="20049"/>
              </a:srgbClr>
            </a:solidFill>
            <a:ln w="3175">
              <a:noFill/>
            </a:ln>
          </p:spPr>
          <p:txBody>
            <a:bodyPr vert="horz" lIns="96000" tIns="72000" rIns="48000" bIns="48000" rtlCol="0" anchor="t" anchorCtr="0">
              <a:noAutofit/>
            </a:bodyPr>
            <a:lstStyle>
              <a:lvl1pPr marL="216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AutoNum type="arabi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32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48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64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1080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1296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1512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1728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1944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359991">
                <a:spcAft>
                  <a:spcPts val="800"/>
                </a:spcAft>
                <a:buClr>
                  <a:srgbClr val="0F1E32"/>
                </a:buClr>
                <a:buNone/>
              </a:pPr>
              <a:endParaRPr lang="en-US" sz="800" i="1">
                <a:solidFill>
                  <a:srgbClr val="5DB1C3">
                    <a:lumMod val="75000"/>
                  </a:srgbClr>
                </a:solidFill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1" name="Content Placeholder 6">
              <a:extLst>
                <a:ext uri="{FF2B5EF4-FFF2-40B4-BE49-F238E27FC236}">
                  <a16:creationId xmlns:a16="http://schemas.microsoft.com/office/drawing/2014/main" id="{3FD7DA69-4CA9-3E05-319A-42F3F0DAE047}"/>
                </a:ext>
              </a:extLst>
            </p:cNvPr>
            <p:cNvSpPr txBox="1">
              <a:spLocks/>
            </p:cNvSpPr>
            <p:nvPr/>
          </p:nvSpPr>
          <p:spPr>
            <a:xfrm>
              <a:off x="5775628" y="2748306"/>
              <a:ext cx="2945982" cy="436838"/>
            </a:xfrm>
            <a:prstGeom prst="roundRect">
              <a:avLst>
                <a:gd name="adj" fmla="val 9461"/>
              </a:avLst>
            </a:prstGeom>
            <a:noFill/>
            <a:ln w="3175">
              <a:solidFill>
                <a:schemeClr val="accent5">
                  <a:lumMod val="50000"/>
                </a:schemeClr>
              </a:solidFill>
            </a:ln>
          </p:spPr>
          <p:txBody>
            <a:bodyPr vert="horz" lIns="96000" tIns="216000" rIns="48000" bIns="48000" rtlCol="0" anchor="t" anchorCtr="0">
              <a:noAutofit/>
            </a:bodyPr>
            <a:lstStyle>
              <a:lvl1pPr marL="216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AutoNum type="arabi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32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48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64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1080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1296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1512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1728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1944000" indent="-216000" algn="l" defTabSz="2700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Wingdings" pitchFamily="2" charset="2"/>
                <a:buChar char="§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359991">
                <a:spcAft>
                  <a:spcPts val="1200"/>
                </a:spcAft>
                <a:buClr>
                  <a:srgbClr val="0F1E32"/>
                </a:buClr>
                <a:buNone/>
              </a:pPr>
              <a:endParaRPr lang="en-US" sz="800" dirty="0">
                <a:solidFill>
                  <a:prstClr val="white"/>
                </a:solidFill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32" name="Titel 6">
              <a:extLst>
                <a:ext uri="{FF2B5EF4-FFF2-40B4-BE49-F238E27FC236}">
                  <a16:creationId xmlns:a16="http://schemas.microsoft.com/office/drawing/2014/main" id="{03B47A75-EDFD-03DD-3DBA-0600859C98FE}"/>
                </a:ext>
              </a:extLst>
            </p:cNvPr>
            <p:cNvSpPr txBox="1">
              <a:spLocks/>
            </p:cNvSpPr>
            <p:nvPr/>
          </p:nvSpPr>
          <p:spPr>
            <a:xfrm>
              <a:off x="5798708" y="2756699"/>
              <a:ext cx="1486023" cy="106022"/>
            </a:xfrm>
            <a:prstGeom prst="rect">
              <a:avLst/>
            </a:prstGeom>
            <a:noFill/>
          </p:spPr>
          <p:txBody>
            <a:bodyPr vert="horz" lIns="96000" tIns="0" rIns="0" bIns="0" rtlCol="0" anchor="ctr" anchorCtr="0">
              <a:noAutofit/>
            </a:bodyPr>
            <a:lstStyle>
              <a:lvl1pPr algn="l" defTabSz="270000" rtl="0" eaLnBrk="1" latinLnBrk="0" hangingPunct="1">
                <a:spcBef>
                  <a:spcPct val="0"/>
                </a:spcBef>
                <a:buNone/>
                <a:defRPr sz="2000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359991"/>
              <a:r>
                <a:rPr lang="en-GB" sz="667" b="1" dirty="0">
                  <a:solidFill>
                    <a:srgbClr val="0F1E32"/>
                  </a:solidFill>
                  <a:latin typeface="Arial"/>
                  <a:ea typeface="Arial Unicode MS"/>
                  <a:cs typeface="Arial"/>
                </a:rPr>
                <a:t>Relevant hashtags</a:t>
              </a:r>
              <a:endParaRPr lang="en-US" sz="667" b="1" dirty="0">
                <a:solidFill>
                  <a:srgbClr val="0F1E32"/>
                </a:solidFill>
                <a:latin typeface="Arial"/>
                <a:ea typeface="Arial Unicode MS"/>
                <a:cs typeface="Arial"/>
              </a:endParaRPr>
            </a:p>
          </p:txBody>
        </p:sp>
      </p:grpSp>
      <p:grpSp>
        <p:nvGrpSpPr>
          <p:cNvPr id="33" name="object 5">
            <a:extLst>
              <a:ext uri="{FF2B5EF4-FFF2-40B4-BE49-F238E27FC236}">
                <a16:creationId xmlns:a16="http://schemas.microsoft.com/office/drawing/2014/main" id="{04F0BBC1-1866-5F4F-2F5A-0112DDD3E57F}"/>
              </a:ext>
            </a:extLst>
          </p:cNvPr>
          <p:cNvGrpSpPr/>
          <p:nvPr/>
        </p:nvGrpSpPr>
        <p:grpSpPr>
          <a:xfrm>
            <a:off x="9292808" y="217797"/>
            <a:ext cx="1404690" cy="407406"/>
            <a:chOff x="4176001" y="538663"/>
            <a:chExt cx="2898775" cy="840740"/>
          </a:xfrm>
        </p:grpSpPr>
        <p:sp>
          <p:nvSpPr>
            <p:cNvPr id="34" name="object 6">
              <a:extLst>
                <a:ext uri="{FF2B5EF4-FFF2-40B4-BE49-F238E27FC236}">
                  <a16:creationId xmlns:a16="http://schemas.microsoft.com/office/drawing/2014/main" id="{527C23B0-3FFE-2772-E296-05DD83439746}"/>
                </a:ext>
              </a:extLst>
            </p:cNvPr>
            <p:cNvSpPr/>
            <p:nvPr/>
          </p:nvSpPr>
          <p:spPr>
            <a:xfrm>
              <a:off x="4176001" y="538670"/>
              <a:ext cx="2898775" cy="840105"/>
            </a:xfrm>
            <a:custGeom>
              <a:avLst/>
              <a:gdLst/>
              <a:ahLst/>
              <a:cxnLst/>
              <a:rect l="l" t="t" r="r" b="b"/>
              <a:pathLst>
                <a:path w="2898775" h="840105">
                  <a:moveTo>
                    <a:pt x="838581" y="1371"/>
                  </a:moveTo>
                  <a:lnTo>
                    <a:pt x="698830" y="1371"/>
                  </a:lnTo>
                  <a:lnTo>
                    <a:pt x="698830" y="194983"/>
                  </a:lnTo>
                  <a:lnTo>
                    <a:pt x="698830" y="283210"/>
                  </a:lnTo>
                  <a:lnTo>
                    <a:pt x="696544" y="286461"/>
                  </a:lnTo>
                  <a:lnTo>
                    <a:pt x="692785" y="287832"/>
                  </a:lnTo>
                  <a:lnTo>
                    <a:pt x="513359" y="287832"/>
                  </a:lnTo>
                  <a:lnTo>
                    <a:pt x="513359" y="372681"/>
                  </a:lnTo>
                  <a:lnTo>
                    <a:pt x="653415" y="372681"/>
                  </a:lnTo>
                  <a:lnTo>
                    <a:pt x="657974" y="376682"/>
                  </a:lnTo>
                  <a:lnTo>
                    <a:pt x="657974" y="464858"/>
                  </a:lnTo>
                  <a:lnTo>
                    <a:pt x="655675" y="468185"/>
                  </a:lnTo>
                  <a:lnTo>
                    <a:pt x="652665" y="469468"/>
                  </a:lnTo>
                  <a:lnTo>
                    <a:pt x="513359" y="469468"/>
                  </a:lnTo>
                  <a:lnTo>
                    <a:pt x="513359" y="646353"/>
                  </a:lnTo>
                  <a:lnTo>
                    <a:pt x="508812" y="650278"/>
                  </a:lnTo>
                  <a:lnTo>
                    <a:pt x="406615" y="650278"/>
                  </a:lnTo>
                  <a:lnTo>
                    <a:pt x="402056" y="646353"/>
                  </a:lnTo>
                  <a:lnTo>
                    <a:pt x="402056" y="194983"/>
                  </a:lnTo>
                  <a:lnTo>
                    <a:pt x="406615" y="191046"/>
                  </a:lnTo>
                  <a:lnTo>
                    <a:pt x="693572" y="191046"/>
                  </a:lnTo>
                  <a:lnTo>
                    <a:pt x="698830" y="194983"/>
                  </a:lnTo>
                  <a:lnTo>
                    <a:pt x="698830" y="1371"/>
                  </a:lnTo>
                  <a:lnTo>
                    <a:pt x="310946" y="1371"/>
                  </a:lnTo>
                  <a:lnTo>
                    <a:pt x="310946" y="194983"/>
                  </a:lnTo>
                  <a:lnTo>
                    <a:pt x="310946" y="646353"/>
                  </a:lnTo>
                  <a:lnTo>
                    <a:pt x="306400" y="650278"/>
                  </a:lnTo>
                  <a:lnTo>
                    <a:pt x="204241" y="650278"/>
                  </a:lnTo>
                  <a:lnTo>
                    <a:pt x="199669" y="646353"/>
                  </a:lnTo>
                  <a:lnTo>
                    <a:pt x="199669" y="194983"/>
                  </a:lnTo>
                  <a:lnTo>
                    <a:pt x="204241" y="191046"/>
                  </a:lnTo>
                  <a:lnTo>
                    <a:pt x="306400" y="191046"/>
                  </a:lnTo>
                  <a:lnTo>
                    <a:pt x="310946" y="194983"/>
                  </a:lnTo>
                  <a:lnTo>
                    <a:pt x="310946" y="1371"/>
                  </a:lnTo>
                  <a:lnTo>
                    <a:pt x="0" y="1371"/>
                  </a:lnTo>
                  <a:lnTo>
                    <a:pt x="0" y="839952"/>
                  </a:lnTo>
                  <a:lnTo>
                    <a:pt x="838581" y="839952"/>
                  </a:lnTo>
                  <a:lnTo>
                    <a:pt x="838581" y="650278"/>
                  </a:lnTo>
                  <a:lnTo>
                    <a:pt x="838581" y="191046"/>
                  </a:lnTo>
                  <a:lnTo>
                    <a:pt x="838581" y="1371"/>
                  </a:lnTo>
                  <a:close/>
                </a:path>
                <a:path w="2898775" h="840105">
                  <a:moveTo>
                    <a:pt x="1118628" y="5880"/>
                  </a:moveTo>
                  <a:lnTo>
                    <a:pt x="1113612" y="1473"/>
                  </a:lnTo>
                  <a:lnTo>
                    <a:pt x="999515" y="1473"/>
                  </a:lnTo>
                  <a:lnTo>
                    <a:pt x="994511" y="5880"/>
                  </a:lnTo>
                  <a:lnTo>
                    <a:pt x="994511" y="508444"/>
                  </a:lnTo>
                  <a:lnTo>
                    <a:pt x="999515" y="512940"/>
                  </a:lnTo>
                  <a:lnTo>
                    <a:pt x="1006271" y="512940"/>
                  </a:lnTo>
                  <a:lnTo>
                    <a:pt x="1113612" y="512940"/>
                  </a:lnTo>
                  <a:lnTo>
                    <a:pt x="1118628" y="508444"/>
                  </a:lnTo>
                  <a:lnTo>
                    <a:pt x="1118628" y="5880"/>
                  </a:lnTo>
                  <a:close/>
                </a:path>
                <a:path w="2898775" h="840105">
                  <a:moveTo>
                    <a:pt x="1584502" y="455587"/>
                  </a:moveTo>
                  <a:lnTo>
                    <a:pt x="1583702" y="445198"/>
                  </a:lnTo>
                  <a:lnTo>
                    <a:pt x="1583702" y="405587"/>
                  </a:lnTo>
                  <a:lnTo>
                    <a:pt x="1583702" y="108077"/>
                  </a:lnTo>
                  <a:lnTo>
                    <a:pt x="1583702" y="58661"/>
                  </a:lnTo>
                  <a:lnTo>
                    <a:pt x="1574431" y="50698"/>
                  </a:lnTo>
                  <a:lnTo>
                    <a:pt x="1517726" y="1460"/>
                  </a:lnTo>
                  <a:lnTo>
                    <a:pt x="1459445" y="1460"/>
                  </a:lnTo>
                  <a:lnTo>
                    <a:pt x="1459445" y="124968"/>
                  </a:lnTo>
                  <a:lnTo>
                    <a:pt x="1459445" y="391617"/>
                  </a:lnTo>
                  <a:lnTo>
                    <a:pt x="1458645" y="393153"/>
                  </a:lnTo>
                  <a:lnTo>
                    <a:pt x="1456982" y="395312"/>
                  </a:lnTo>
                  <a:lnTo>
                    <a:pt x="1445145" y="405587"/>
                  </a:lnTo>
                  <a:lnTo>
                    <a:pt x="1348740" y="405587"/>
                  </a:lnTo>
                  <a:lnTo>
                    <a:pt x="1348740" y="108077"/>
                  </a:lnTo>
                  <a:lnTo>
                    <a:pt x="1440865" y="108077"/>
                  </a:lnTo>
                  <a:lnTo>
                    <a:pt x="1442631" y="110261"/>
                  </a:lnTo>
                  <a:lnTo>
                    <a:pt x="1456982" y="122732"/>
                  </a:lnTo>
                  <a:lnTo>
                    <a:pt x="1459445" y="124968"/>
                  </a:lnTo>
                  <a:lnTo>
                    <a:pt x="1459445" y="1460"/>
                  </a:lnTo>
                  <a:lnTo>
                    <a:pt x="1229639" y="1460"/>
                  </a:lnTo>
                  <a:lnTo>
                    <a:pt x="1224521" y="5854"/>
                  </a:lnTo>
                  <a:lnTo>
                    <a:pt x="1224521" y="509244"/>
                  </a:lnTo>
                  <a:lnTo>
                    <a:pt x="1229639" y="513651"/>
                  </a:lnTo>
                  <a:lnTo>
                    <a:pt x="1505077" y="513651"/>
                  </a:lnTo>
                  <a:lnTo>
                    <a:pt x="1516976" y="514273"/>
                  </a:lnTo>
                  <a:lnTo>
                    <a:pt x="1584502" y="455587"/>
                  </a:lnTo>
                  <a:close/>
                </a:path>
                <a:path w="2898775" h="840105">
                  <a:moveTo>
                    <a:pt x="2013915" y="5880"/>
                  </a:moveTo>
                  <a:lnTo>
                    <a:pt x="2007958" y="1435"/>
                  </a:lnTo>
                  <a:lnTo>
                    <a:pt x="1687690" y="1435"/>
                  </a:lnTo>
                  <a:lnTo>
                    <a:pt x="1682724" y="5880"/>
                  </a:lnTo>
                  <a:lnTo>
                    <a:pt x="1682724" y="509206"/>
                  </a:lnTo>
                  <a:lnTo>
                    <a:pt x="1687690" y="513702"/>
                  </a:lnTo>
                  <a:lnTo>
                    <a:pt x="1694510" y="513702"/>
                  </a:lnTo>
                  <a:lnTo>
                    <a:pt x="2007958" y="513702"/>
                  </a:lnTo>
                  <a:lnTo>
                    <a:pt x="2013915" y="509206"/>
                  </a:lnTo>
                  <a:lnTo>
                    <a:pt x="2013915" y="410095"/>
                  </a:lnTo>
                  <a:lnTo>
                    <a:pt x="2007958" y="405574"/>
                  </a:lnTo>
                  <a:lnTo>
                    <a:pt x="1806803" y="405574"/>
                  </a:lnTo>
                  <a:lnTo>
                    <a:pt x="1806803" y="310870"/>
                  </a:lnTo>
                  <a:lnTo>
                    <a:pt x="1963267" y="310870"/>
                  </a:lnTo>
                  <a:lnTo>
                    <a:pt x="1968246" y="306438"/>
                  </a:lnTo>
                  <a:lnTo>
                    <a:pt x="1968246" y="207162"/>
                  </a:lnTo>
                  <a:lnTo>
                    <a:pt x="1963267" y="202844"/>
                  </a:lnTo>
                  <a:lnTo>
                    <a:pt x="1806803" y="202844"/>
                  </a:lnTo>
                  <a:lnTo>
                    <a:pt x="1806803" y="108051"/>
                  </a:lnTo>
                  <a:lnTo>
                    <a:pt x="2007958" y="108051"/>
                  </a:lnTo>
                  <a:lnTo>
                    <a:pt x="2013915" y="103632"/>
                  </a:lnTo>
                  <a:lnTo>
                    <a:pt x="2013915" y="5880"/>
                  </a:lnTo>
                  <a:close/>
                </a:path>
                <a:path w="2898775" h="840105">
                  <a:moveTo>
                    <a:pt x="2499677" y="508469"/>
                  </a:moveTo>
                  <a:lnTo>
                    <a:pt x="2497899" y="503326"/>
                  </a:lnTo>
                  <a:lnTo>
                    <a:pt x="2477643" y="443903"/>
                  </a:lnTo>
                  <a:lnTo>
                    <a:pt x="2443772" y="344576"/>
                  </a:lnTo>
                  <a:lnTo>
                    <a:pt x="2392426" y="193992"/>
                  </a:lnTo>
                  <a:lnTo>
                    <a:pt x="2330513" y="12446"/>
                  </a:lnTo>
                  <a:lnTo>
                    <a:pt x="2328075" y="5880"/>
                  </a:lnTo>
                  <a:lnTo>
                    <a:pt x="2324709" y="1409"/>
                  </a:lnTo>
                  <a:lnTo>
                    <a:pt x="2319591" y="1409"/>
                  </a:lnTo>
                  <a:lnTo>
                    <a:pt x="2319591" y="344576"/>
                  </a:lnTo>
                  <a:lnTo>
                    <a:pt x="2217407" y="344576"/>
                  </a:lnTo>
                  <a:lnTo>
                    <a:pt x="2268944" y="193992"/>
                  </a:lnTo>
                  <a:lnTo>
                    <a:pt x="2319591" y="344576"/>
                  </a:lnTo>
                  <a:lnTo>
                    <a:pt x="2319591" y="1409"/>
                  </a:lnTo>
                  <a:lnTo>
                    <a:pt x="2212390" y="1409"/>
                  </a:lnTo>
                  <a:lnTo>
                    <a:pt x="2209787" y="5880"/>
                  </a:lnTo>
                  <a:lnTo>
                    <a:pt x="2206510" y="12446"/>
                  </a:lnTo>
                  <a:lnTo>
                    <a:pt x="2039112" y="503326"/>
                  </a:lnTo>
                  <a:lnTo>
                    <a:pt x="2037422" y="508469"/>
                  </a:lnTo>
                  <a:lnTo>
                    <a:pt x="2045004" y="513702"/>
                  </a:lnTo>
                  <a:lnTo>
                    <a:pt x="2154821" y="513702"/>
                  </a:lnTo>
                  <a:lnTo>
                    <a:pt x="2160752" y="508469"/>
                  </a:lnTo>
                  <a:lnTo>
                    <a:pt x="2163229" y="503326"/>
                  </a:lnTo>
                  <a:lnTo>
                    <a:pt x="2183612" y="443903"/>
                  </a:lnTo>
                  <a:lnTo>
                    <a:pt x="2353475" y="443903"/>
                  </a:lnTo>
                  <a:lnTo>
                    <a:pt x="2373744" y="503326"/>
                  </a:lnTo>
                  <a:lnTo>
                    <a:pt x="2376246" y="508469"/>
                  </a:lnTo>
                  <a:lnTo>
                    <a:pt x="2382151" y="513702"/>
                  </a:lnTo>
                  <a:lnTo>
                    <a:pt x="2491994" y="513702"/>
                  </a:lnTo>
                  <a:lnTo>
                    <a:pt x="2499677" y="508469"/>
                  </a:lnTo>
                  <a:close/>
                </a:path>
                <a:path w="2898775" h="840105">
                  <a:moveTo>
                    <a:pt x="2898190" y="59563"/>
                  </a:moveTo>
                  <a:lnTo>
                    <a:pt x="2888094" y="50673"/>
                  </a:lnTo>
                  <a:lnTo>
                    <a:pt x="2840723" y="9575"/>
                  </a:lnTo>
                  <a:lnTo>
                    <a:pt x="2832074" y="1409"/>
                  </a:lnTo>
                  <a:lnTo>
                    <a:pt x="2830576" y="0"/>
                  </a:lnTo>
                  <a:lnTo>
                    <a:pt x="2818790" y="1409"/>
                  </a:lnTo>
                  <a:lnTo>
                    <a:pt x="2599842" y="1409"/>
                  </a:lnTo>
                  <a:lnTo>
                    <a:pt x="2588056" y="0"/>
                  </a:lnTo>
                  <a:lnTo>
                    <a:pt x="2577884" y="9575"/>
                  </a:lnTo>
                  <a:lnTo>
                    <a:pt x="2520391" y="59563"/>
                  </a:lnTo>
                  <a:lnTo>
                    <a:pt x="2521305" y="69824"/>
                  </a:lnTo>
                  <a:lnTo>
                    <a:pt x="2521305" y="242544"/>
                  </a:lnTo>
                  <a:lnTo>
                    <a:pt x="2520467" y="252044"/>
                  </a:lnTo>
                  <a:lnTo>
                    <a:pt x="2520391" y="252831"/>
                  </a:lnTo>
                  <a:lnTo>
                    <a:pt x="2588056" y="311543"/>
                  </a:lnTo>
                  <a:lnTo>
                    <a:pt x="2599842" y="310883"/>
                  </a:lnTo>
                  <a:lnTo>
                    <a:pt x="2753703" y="310883"/>
                  </a:lnTo>
                  <a:lnTo>
                    <a:pt x="2754592" y="311543"/>
                  </a:lnTo>
                  <a:lnTo>
                    <a:pt x="2756255" y="313055"/>
                  </a:lnTo>
                  <a:lnTo>
                    <a:pt x="2770619" y="324840"/>
                  </a:lnTo>
                  <a:lnTo>
                    <a:pt x="2773197" y="327774"/>
                  </a:lnTo>
                  <a:lnTo>
                    <a:pt x="2773197" y="388721"/>
                  </a:lnTo>
                  <a:lnTo>
                    <a:pt x="2770619" y="391642"/>
                  </a:lnTo>
                  <a:lnTo>
                    <a:pt x="2756255" y="403428"/>
                  </a:lnTo>
                  <a:lnTo>
                    <a:pt x="2753703" y="405587"/>
                  </a:lnTo>
                  <a:lnTo>
                    <a:pt x="2645600" y="405587"/>
                  </a:lnTo>
                  <a:lnTo>
                    <a:pt x="2645600" y="366687"/>
                  </a:lnTo>
                  <a:lnTo>
                    <a:pt x="2640444" y="362204"/>
                  </a:lnTo>
                  <a:lnTo>
                    <a:pt x="2527236" y="362204"/>
                  </a:lnTo>
                  <a:lnTo>
                    <a:pt x="2521305" y="366687"/>
                  </a:lnTo>
                  <a:lnTo>
                    <a:pt x="2521204" y="445274"/>
                  </a:lnTo>
                  <a:lnTo>
                    <a:pt x="2520391" y="455587"/>
                  </a:lnTo>
                  <a:lnTo>
                    <a:pt x="2577884" y="505523"/>
                  </a:lnTo>
                  <a:lnTo>
                    <a:pt x="2588056" y="514223"/>
                  </a:lnTo>
                  <a:lnTo>
                    <a:pt x="2599842" y="513702"/>
                  </a:lnTo>
                  <a:lnTo>
                    <a:pt x="2818790" y="513702"/>
                  </a:lnTo>
                  <a:lnTo>
                    <a:pt x="2830576" y="514223"/>
                  </a:lnTo>
                  <a:lnTo>
                    <a:pt x="2831185" y="513702"/>
                  </a:lnTo>
                  <a:lnTo>
                    <a:pt x="2840723" y="505523"/>
                  </a:lnTo>
                  <a:lnTo>
                    <a:pt x="2898190" y="455587"/>
                  </a:lnTo>
                  <a:lnTo>
                    <a:pt x="2897403" y="445274"/>
                  </a:lnTo>
                  <a:lnTo>
                    <a:pt x="2897403" y="405587"/>
                  </a:lnTo>
                  <a:lnTo>
                    <a:pt x="2897403" y="310883"/>
                  </a:lnTo>
                  <a:lnTo>
                    <a:pt x="2897403" y="271068"/>
                  </a:lnTo>
                  <a:lnTo>
                    <a:pt x="2898140" y="261594"/>
                  </a:lnTo>
                  <a:lnTo>
                    <a:pt x="2898190" y="260896"/>
                  </a:lnTo>
                  <a:lnTo>
                    <a:pt x="2840723" y="210870"/>
                  </a:lnTo>
                  <a:lnTo>
                    <a:pt x="2832163" y="202806"/>
                  </a:lnTo>
                  <a:lnTo>
                    <a:pt x="2830576" y="201320"/>
                  </a:lnTo>
                  <a:lnTo>
                    <a:pt x="2818790" y="202806"/>
                  </a:lnTo>
                  <a:lnTo>
                    <a:pt x="2660688" y="202806"/>
                  </a:lnTo>
                  <a:lnTo>
                    <a:pt x="2645600" y="189611"/>
                  </a:lnTo>
                  <a:lnTo>
                    <a:pt x="2645600" y="126326"/>
                  </a:lnTo>
                  <a:lnTo>
                    <a:pt x="2648877" y="123431"/>
                  </a:lnTo>
                  <a:lnTo>
                    <a:pt x="2662402" y="111645"/>
                  </a:lnTo>
                  <a:lnTo>
                    <a:pt x="2664955" y="109486"/>
                  </a:lnTo>
                  <a:lnTo>
                    <a:pt x="2773197" y="109486"/>
                  </a:lnTo>
                  <a:lnTo>
                    <a:pt x="2773197" y="152082"/>
                  </a:lnTo>
                  <a:lnTo>
                    <a:pt x="2778163" y="156451"/>
                  </a:lnTo>
                  <a:lnTo>
                    <a:pt x="2891371" y="156451"/>
                  </a:lnTo>
                  <a:lnTo>
                    <a:pt x="2897403" y="152082"/>
                  </a:lnTo>
                  <a:lnTo>
                    <a:pt x="2897403" y="109486"/>
                  </a:lnTo>
                  <a:lnTo>
                    <a:pt x="2897403" y="69824"/>
                  </a:lnTo>
                  <a:lnTo>
                    <a:pt x="2898190" y="59563"/>
                  </a:lnTo>
                  <a:close/>
                </a:path>
              </a:pathLst>
            </a:custGeom>
            <a:solidFill>
              <a:srgbClr val="D83D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5" name="object 7">
              <a:extLst>
                <a:ext uri="{FF2B5EF4-FFF2-40B4-BE49-F238E27FC236}">
                  <a16:creationId xmlns:a16="http://schemas.microsoft.com/office/drawing/2014/main" id="{67F5EEBB-40BD-3010-DEB3-637CB415B7F7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170521" y="1143007"/>
              <a:ext cx="151917" cy="235521"/>
            </a:xfrm>
            <a:prstGeom prst="rect">
              <a:avLst/>
            </a:prstGeom>
          </p:spPr>
        </p:pic>
        <p:pic>
          <p:nvPicPr>
            <p:cNvPr id="36" name="object 8">
              <a:extLst>
                <a:ext uri="{FF2B5EF4-FFF2-40B4-BE49-F238E27FC236}">
                  <a16:creationId xmlns:a16="http://schemas.microsoft.com/office/drawing/2014/main" id="{DE32D675-221A-8ABA-80F7-74EEA1DDA1FB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353518" y="1142288"/>
              <a:ext cx="173227" cy="236588"/>
            </a:xfrm>
            <a:prstGeom prst="rect">
              <a:avLst/>
            </a:prstGeom>
          </p:spPr>
        </p:pic>
        <p:pic>
          <p:nvPicPr>
            <p:cNvPr id="37" name="object 9">
              <a:extLst>
                <a:ext uri="{FF2B5EF4-FFF2-40B4-BE49-F238E27FC236}">
                  <a16:creationId xmlns:a16="http://schemas.microsoft.com/office/drawing/2014/main" id="{4F0C368C-B73B-BAAF-E75C-365953E8CD79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570828" y="1142959"/>
              <a:ext cx="173278" cy="236283"/>
            </a:xfrm>
            <a:prstGeom prst="rect">
              <a:avLst/>
            </a:prstGeom>
          </p:spPr>
        </p:pic>
        <p:pic>
          <p:nvPicPr>
            <p:cNvPr id="38" name="object 10">
              <a:extLst>
                <a:ext uri="{FF2B5EF4-FFF2-40B4-BE49-F238E27FC236}">
                  <a16:creationId xmlns:a16="http://schemas.microsoft.com/office/drawing/2014/main" id="{34737643-5ECD-8A04-FAA3-170541D8A507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789369" y="1143007"/>
              <a:ext cx="177876" cy="235521"/>
            </a:xfrm>
            <a:prstGeom prst="rect">
              <a:avLst/>
            </a:prstGeom>
          </p:spPr>
        </p:pic>
        <p:sp>
          <p:nvSpPr>
            <p:cNvPr id="39" name="object 11">
              <a:extLst>
                <a:ext uri="{FF2B5EF4-FFF2-40B4-BE49-F238E27FC236}">
                  <a16:creationId xmlns:a16="http://schemas.microsoft.com/office/drawing/2014/main" id="{FDB5489F-3211-BCE3-CDDE-801057CA321D}"/>
                </a:ext>
              </a:extLst>
            </p:cNvPr>
            <p:cNvSpPr/>
            <p:nvPr/>
          </p:nvSpPr>
          <p:spPr>
            <a:xfrm>
              <a:off x="6015787" y="1142961"/>
              <a:ext cx="615315" cy="236220"/>
            </a:xfrm>
            <a:custGeom>
              <a:avLst/>
              <a:gdLst/>
              <a:ahLst/>
              <a:cxnLst/>
              <a:rect l="l" t="t" r="r" b="b"/>
              <a:pathLst>
                <a:path w="615315" h="236219">
                  <a:moveTo>
                    <a:pt x="165125" y="208927"/>
                  </a:moveTo>
                  <a:lnTo>
                    <a:pt x="164731" y="204241"/>
                  </a:lnTo>
                  <a:lnTo>
                    <a:pt x="164731" y="186004"/>
                  </a:lnTo>
                  <a:lnTo>
                    <a:pt x="164731" y="49504"/>
                  </a:lnTo>
                  <a:lnTo>
                    <a:pt x="164731" y="26314"/>
                  </a:lnTo>
                  <a:lnTo>
                    <a:pt x="134518" y="0"/>
                  </a:lnTo>
                  <a:lnTo>
                    <a:pt x="107823" y="0"/>
                  </a:lnTo>
                  <a:lnTo>
                    <a:pt x="107823" y="57277"/>
                  </a:lnTo>
                  <a:lnTo>
                    <a:pt x="107823" y="179603"/>
                  </a:lnTo>
                  <a:lnTo>
                    <a:pt x="107378" y="180301"/>
                  </a:lnTo>
                  <a:lnTo>
                    <a:pt x="106591" y="181317"/>
                  </a:lnTo>
                  <a:lnTo>
                    <a:pt x="101180" y="186004"/>
                  </a:lnTo>
                  <a:lnTo>
                    <a:pt x="56984" y="186004"/>
                  </a:lnTo>
                  <a:lnTo>
                    <a:pt x="56984" y="49504"/>
                  </a:lnTo>
                  <a:lnTo>
                    <a:pt x="99199" y="49504"/>
                  </a:lnTo>
                  <a:lnTo>
                    <a:pt x="100037" y="50520"/>
                  </a:lnTo>
                  <a:lnTo>
                    <a:pt x="106591" y="56261"/>
                  </a:lnTo>
                  <a:lnTo>
                    <a:pt x="107823" y="57277"/>
                  </a:lnTo>
                  <a:lnTo>
                    <a:pt x="107823" y="0"/>
                  </a:lnTo>
                  <a:lnTo>
                    <a:pt x="2336" y="0"/>
                  </a:lnTo>
                  <a:lnTo>
                    <a:pt x="0" y="2032"/>
                  </a:lnTo>
                  <a:lnTo>
                    <a:pt x="0" y="233540"/>
                  </a:lnTo>
                  <a:lnTo>
                    <a:pt x="2336" y="235546"/>
                  </a:lnTo>
                  <a:lnTo>
                    <a:pt x="128663" y="235546"/>
                  </a:lnTo>
                  <a:lnTo>
                    <a:pt x="134124" y="235915"/>
                  </a:lnTo>
                  <a:lnTo>
                    <a:pt x="138734" y="231851"/>
                  </a:lnTo>
                  <a:lnTo>
                    <a:pt x="165125" y="208927"/>
                  </a:lnTo>
                  <a:close/>
                </a:path>
                <a:path w="615315" h="236219">
                  <a:moveTo>
                    <a:pt x="388416" y="233235"/>
                  </a:moveTo>
                  <a:lnTo>
                    <a:pt x="387680" y="230835"/>
                  </a:lnTo>
                  <a:lnTo>
                    <a:pt x="378409" y="203593"/>
                  </a:lnTo>
                  <a:lnTo>
                    <a:pt x="362940" y="158051"/>
                  </a:lnTo>
                  <a:lnTo>
                    <a:pt x="339483" y="89001"/>
                  </a:lnTo>
                  <a:lnTo>
                    <a:pt x="310934" y="5105"/>
                  </a:lnTo>
                  <a:lnTo>
                    <a:pt x="309740" y="2032"/>
                  </a:lnTo>
                  <a:lnTo>
                    <a:pt x="308203" y="0"/>
                  </a:lnTo>
                  <a:lnTo>
                    <a:pt x="305917" y="0"/>
                  </a:lnTo>
                  <a:lnTo>
                    <a:pt x="305917" y="158051"/>
                  </a:lnTo>
                  <a:lnTo>
                    <a:pt x="259041" y="158051"/>
                  </a:lnTo>
                  <a:lnTo>
                    <a:pt x="282651" y="89001"/>
                  </a:lnTo>
                  <a:lnTo>
                    <a:pt x="305917" y="158051"/>
                  </a:lnTo>
                  <a:lnTo>
                    <a:pt x="305917" y="0"/>
                  </a:lnTo>
                  <a:lnTo>
                    <a:pt x="256654" y="0"/>
                  </a:lnTo>
                  <a:lnTo>
                    <a:pt x="255460" y="2032"/>
                  </a:lnTo>
                  <a:lnTo>
                    <a:pt x="253974" y="5105"/>
                  </a:lnTo>
                  <a:lnTo>
                    <a:pt x="177177" y="230835"/>
                  </a:lnTo>
                  <a:lnTo>
                    <a:pt x="176491" y="233235"/>
                  </a:lnTo>
                  <a:lnTo>
                    <a:pt x="179908" y="235623"/>
                  </a:lnTo>
                  <a:lnTo>
                    <a:pt x="230314" y="235623"/>
                  </a:lnTo>
                  <a:lnTo>
                    <a:pt x="233070" y="233235"/>
                  </a:lnTo>
                  <a:lnTo>
                    <a:pt x="234213" y="230835"/>
                  </a:lnTo>
                  <a:lnTo>
                    <a:pt x="243509" y="203593"/>
                  </a:lnTo>
                  <a:lnTo>
                    <a:pt x="321449" y="203593"/>
                  </a:lnTo>
                  <a:lnTo>
                    <a:pt x="330720" y="230835"/>
                  </a:lnTo>
                  <a:lnTo>
                    <a:pt x="331838" y="233235"/>
                  </a:lnTo>
                  <a:lnTo>
                    <a:pt x="334594" y="235623"/>
                  </a:lnTo>
                  <a:lnTo>
                    <a:pt x="384949" y="235623"/>
                  </a:lnTo>
                  <a:lnTo>
                    <a:pt x="388416" y="233235"/>
                  </a:lnTo>
                  <a:close/>
                </a:path>
                <a:path w="615315" h="236219">
                  <a:moveTo>
                    <a:pt x="529678" y="3035"/>
                  </a:moveTo>
                  <a:lnTo>
                    <a:pt x="526973" y="673"/>
                  </a:lnTo>
                  <a:lnTo>
                    <a:pt x="523849" y="673"/>
                  </a:lnTo>
                  <a:lnTo>
                    <a:pt x="365721" y="673"/>
                  </a:lnTo>
                  <a:lnTo>
                    <a:pt x="363016" y="3035"/>
                  </a:lnTo>
                  <a:lnTo>
                    <a:pt x="363016" y="48221"/>
                  </a:lnTo>
                  <a:lnTo>
                    <a:pt x="365721" y="50203"/>
                  </a:lnTo>
                  <a:lnTo>
                    <a:pt x="418033" y="50203"/>
                  </a:lnTo>
                  <a:lnTo>
                    <a:pt x="418033" y="231508"/>
                  </a:lnTo>
                  <a:lnTo>
                    <a:pt x="418414" y="233857"/>
                  </a:lnTo>
                  <a:lnTo>
                    <a:pt x="420738" y="235546"/>
                  </a:lnTo>
                  <a:lnTo>
                    <a:pt x="471932" y="235546"/>
                  </a:lnTo>
                  <a:lnTo>
                    <a:pt x="474243" y="233857"/>
                  </a:lnTo>
                  <a:lnTo>
                    <a:pt x="474611" y="231508"/>
                  </a:lnTo>
                  <a:lnTo>
                    <a:pt x="474611" y="50203"/>
                  </a:lnTo>
                  <a:lnTo>
                    <a:pt x="526973" y="50203"/>
                  </a:lnTo>
                  <a:lnTo>
                    <a:pt x="529678" y="48221"/>
                  </a:lnTo>
                  <a:lnTo>
                    <a:pt x="529678" y="3035"/>
                  </a:lnTo>
                  <a:close/>
                </a:path>
                <a:path w="615315" h="236219">
                  <a:moveTo>
                    <a:pt x="614768" y="3048"/>
                  </a:moveTo>
                  <a:lnTo>
                    <a:pt x="612495" y="1016"/>
                  </a:lnTo>
                  <a:lnTo>
                    <a:pt x="609371" y="1016"/>
                  </a:lnTo>
                  <a:lnTo>
                    <a:pt x="560158" y="1016"/>
                  </a:lnTo>
                  <a:lnTo>
                    <a:pt x="557822" y="3048"/>
                  </a:lnTo>
                  <a:lnTo>
                    <a:pt x="557822" y="233540"/>
                  </a:lnTo>
                  <a:lnTo>
                    <a:pt x="560158" y="235546"/>
                  </a:lnTo>
                  <a:lnTo>
                    <a:pt x="612495" y="235546"/>
                  </a:lnTo>
                  <a:lnTo>
                    <a:pt x="614768" y="233540"/>
                  </a:lnTo>
                  <a:lnTo>
                    <a:pt x="614768" y="3048"/>
                  </a:lnTo>
                  <a:close/>
                </a:path>
              </a:pathLst>
            </a:custGeom>
            <a:solidFill>
              <a:srgbClr val="D83D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0" name="object 12">
              <a:extLst>
                <a:ext uri="{FF2B5EF4-FFF2-40B4-BE49-F238E27FC236}">
                  <a16:creationId xmlns:a16="http://schemas.microsoft.com/office/drawing/2014/main" id="{D44CF1C6-7CAD-330D-5F09-350CBA5FA3BB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677011" y="1142281"/>
              <a:ext cx="173253" cy="236562"/>
            </a:xfrm>
            <a:prstGeom prst="rect">
              <a:avLst/>
            </a:prstGeom>
          </p:spPr>
        </p:pic>
        <p:pic>
          <p:nvPicPr>
            <p:cNvPr id="41" name="object 13">
              <a:extLst>
                <a:ext uri="{FF2B5EF4-FFF2-40B4-BE49-F238E27FC236}">
                  <a16:creationId xmlns:a16="http://schemas.microsoft.com/office/drawing/2014/main" id="{95315105-EFAA-E925-B16A-AB53D166B5E7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895514" y="1143007"/>
              <a:ext cx="177876" cy="2355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41751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n5Z5rZuXn.0244UjqhoQ"/>
</p:tagLst>
</file>

<file path=ppt/theme/theme1.xml><?xml version="1.0" encoding="utf-8"?>
<a:theme xmlns:a="http://schemas.openxmlformats.org/drawingml/2006/main" name="MR _Template 16 to 9_MR_DE">
  <a:themeElements>
    <a:clrScheme name="Munich Re">
      <a:dk1>
        <a:sysClr val="windowText" lastClr="000000"/>
      </a:dk1>
      <a:lt1>
        <a:sysClr val="window" lastClr="FFFFFF"/>
      </a:lt1>
      <a:dk2>
        <a:srgbClr val="0F1E32"/>
      </a:dk2>
      <a:lt2>
        <a:srgbClr val="008080"/>
      </a:lt2>
      <a:accent1>
        <a:srgbClr val="3350B8"/>
      </a:accent1>
      <a:accent2>
        <a:srgbClr val="4AD386"/>
      </a:accent2>
      <a:accent3>
        <a:srgbClr val="E1551E"/>
      </a:accent3>
      <a:accent4>
        <a:srgbClr val="1DB1D9"/>
      </a:accent4>
      <a:accent5>
        <a:srgbClr val="5DB1C3"/>
      </a:accent5>
      <a:accent6>
        <a:srgbClr val="914BFF"/>
      </a:accent6>
      <a:hlink>
        <a:srgbClr val="914BFF"/>
      </a:hlink>
      <a:folHlink>
        <a:srgbClr val="899AD4"/>
      </a:folHlink>
    </a:clrScheme>
    <a:fontScheme name="Munich Re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rtlCol="0" anchor="ctr" anchorCtr="0"/>
      <a:lstStyle>
        <a:defPPr algn="ctr">
          <a:defRPr sz="14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effectLst/>
      </a:spPr>
      <a:bodyPr wrap="square" lIns="0" tIns="0" rIns="0" bIns="0" rtlCol="0">
        <a:spAutoFit/>
      </a:bodyPr>
      <a:lstStyle>
        <a:defPPr marL="269875" indent="-269875">
          <a:lnSpc>
            <a:spcPct val="110000"/>
          </a:lnSpc>
          <a:buFont typeface="Wingdings" panose="05000000000000000000" pitchFamily="2" charset="2"/>
          <a:buChar char="§"/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ERGO">
      <a:srgbClr val="BF1528"/>
    </a:custClr>
    <a:custClr name="ERGO L&amp;H Germany">
      <a:srgbClr val="009284"/>
    </a:custClr>
    <a:custClr name="ERGO P-C Germany">
      <a:srgbClr val="EEB500"/>
    </a:custClr>
    <a:custClr name="ERGO International">
      <a:srgbClr val="E87A16"/>
    </a:custClr>
    <a:custClr name="L&amp;H reinsurance">
      <a:srgbClr val="004DBF"/>
    </a:custClr>
    <a:custClr name="P-C reinsurance">
      <a:srgbClr val="00337F"/>
    </a:custClr>
    <a:custClr name="Risk Solution">
      <a:srgbClr val="00DCFA"/>
    </a:custClr>
    <a:custClr name="MEAG">
      <a:srgbClr val="9CB40D"/>
    </a:custClr>
  </a:custClrLst>
  <a:extLst>
    <a:ext uri="{05A4C25C-085E-4340-85A3-A5531E510DB2}">
      <thm15:themeFamily xmlns:thm15="http://schemas.microsoft.com/office/thememl/2012/main" name="MR _Template 16 to 9_MR_DE" id="{949C4025-495D-4179-9C13-4B3A2E4CDF0B}" vid="{7DAF423B-BAC9-4CA8-AABD-F57F317473C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2</Words>
  <Application>Microsoft Office PowerPoint</Application>
  <PresentationFormat>Widescreen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ptos</vt:lpstr>
      <vt:lpstr>Arial</vt:lpstr>
      <vt:lpstr>Wingdings</vt:lpstr>
      <vt:lpstr>MR _Template 16 to 9_MR_DE</vt:lpstr>
      <vt:lpstr>think-cell Foli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gombedze Kelcy - London-UKLB-MR</dc:creator>
  <cp:lastModifiedBy>Magombedze Kelcy - London-UKLB-MR</cp:lastModifiedBy>
  <cp:revision>2</cp:revision>
  <dcterms:created xsi:type="dcterms:W3CDTF">2025-05-07T07:27:49Z</dcterms:created>
  <dcterms:modified xsi:type="dcterms:W3CDTF">2025-06-13T16:44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5d0447-72b7-4595-8ee5-b32b4892557e_Enabled">
    <vt:lpwstr>true</vt:lpwstr>
  </property>
  <property fmtid="{D5CDD505-2E9C-101B-9397-08002B2CF9AE}" pid="3" name="MSIP_Label_f45d0447-72b7-4595-8ee5-b32b4892557e_SetDate">
    <vt:lpwstr>2025-05-07T17:21:29Z</vt:lpwstr>
  </property>
  <property fmtid="{D5CDD505-2E9C-101B-9397-08002B2CF9AE}" pid="4" name="MSIP_Label_f45d0447-72b7-4595-8ee5-b32b4892557e_Method">
    <vt:lpwstr>Privileged</vt:lpwstr>
  </property>
  <property fmtid="{D5CDD505-2E9C-101B-9397-08002B2CF9AE}" pid="5" name="MSIP_Label_f45d0447-72b7-4595-8ee5-b32b4892557e_Name">
    <vt:lpwstr>f45d0447-72b7-4595-8ee5-b32b4892557e</vt:lpwstr>
  </property>
  <property fmtid="{D5CDD505-2E9C-101B-9397-08002B2CF9AE}" pid="6" name="MSIP_Label_f45d0447-72b7-4595-8ee5-b32b4892557e_SiteId">
    <vt:lpwstr>582259a1-dcaa-4cca-b1cf-e60d3f045ecd</vt:lpwstr>
  </property>
  <property fmtid="{D5CDD505-2E9C-101B-9397-08002B2CF9AE}" pid="7" name="MSIP_Label_f45d0447-72b7-4595-8ee5-b32b4892557e_ActionId">
    <vt:lpwstr>9cb69f30-fefc-4f13-bf06-129244b61d92</vt:lpwstr>
  </property>
  <property fmtid="{D5CDD505-2E9C-101B-9397-08002B2CF9AE}" pid="8" name="MSIP_Label_f45d0447-72b7-4595-8ee5-b32b4892557e_ContentBits">
    <vt:lpwstr>0</vt:lpwstr>
  </property>
  <property fmtid="{D5CDD505-2E9C-101B-9397-08002B2CF9AE}" pid="9" name="MSIP_Label_f45d0447-72b7-4595-8ee5-b32b4892557e_Tag">
    <vt:lpwstr>10, 0, 1, 1</vt:lpwstr>
  </property>
</Properties>
</file>